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3.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5.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6.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7.xml" ContentType="application/vnd.openxmlformats-officedocument.presentationml.tags+xml"/>
  <Override PartName="/ppt/charts/chart22.xml" ContentType="application/vnd.openxmlformats-officedocument.drawingml.chart+xml"/>
  <Override PartName="/ppt/tags/tag38.xml" ContentType="application/vnd.openxmlformats-officedocument.presentationml.tags+xml"/>
  <Override PartName="/ppt/charts/chart23.xml" ContentType="application/vnd.openxmlformats-officedocument.drawingml.chart+xml"/>
  <Override PartName="/ppt/tags/tag39.xml" ContentType="application/vnd.openxmlformats-officedocument.presentationml.tags+xml"/>
  <Override PartName="/ppt/charts/chart24.xml" ContentType="application/vnd.openxmlformats-officedocument.drawingml.chart+xml"/>
  <Override PartName="/ppt/tags/tag40.xml" ContentType="application/vnd.openxmlformats-officedocument.presentationml.tags+xml"/>
  <Override PartName="/ppt/charts/chart25.xml" ContentType="application/vnd.openxmlformats-officedocument.drawingml.chart+xml"/>
  <Override PartName="/ppt/tags/tag41.xml" ContentType="application/vnd.openxmlformats-officedocument.presentationml.tags+xml"/>
  <Override PartName="/ppt/charts/chart26.xml" ContentType="application/vnd.openxmlformats-officedocument.drawingml.chart+xml"/>
  <Override PartName="/ppt/tags/tag42.xml" ContentType="application/vnd.openxmlformats-officedocument.presentationml.tags+xml"/>
  <Override PartName="/ppt/charts/chart27.xml" ContentType="application/vnd.openxmlformats-officedocument.drawingml.chart+xml"/>
  <Override PartName="/ppt/tags/tag43.xml" ContentType="application/vnd.openxmlformats-officedocument.presentationml.tags+xml"/>
  <Override PartName="/ppt/charts/chart28.xml" ContentType="application/vnd.openxmlformats-officedocument.drawingml.chart+xml"/>
  <Override PartName="/ppt/tags/tag44.xml" ContentType="application/vnd.openxmlformats-officedocument.presentationml.tags+xml"/>
  <Override PartName="/ppt/charts/chart29.xml" ContentType="application/vnd.openxmlformats-officedocument.drawingml.chart+xml"/>
  <Override PartName="/ppt/tags/tag45.xml" ContentType="application/vnd.openxmlformats-officedocument.presentationml.tags+xml"/>
  <Override PartName="/ppt/charts/chart30.xml" ContentType="application/vnd.openxmlformats-officedocument.drawingml.chart+xml"/>
  <Override PartName="/ppt/tags/tag46.xml" ContentType="application/vnd.openxmlformats-officedocument.presentationml.tags+xml"/>
  <Override PartName="/ppt/charts/chart31.xml" ContentType="application/vnd.openxmlformats-officedocument.drawingml.chart+xml"/>
  <Override PartName="/ppt/tags/tag47.xml" ContentType="application/vnd.openxmlformats-officedocument.presentationml.tags+xml"/>
  <Override PartName="/ppt/charts/chart32.xml" ContentType="application/vnd.openxmlformats-officedocument.drawingml.chart+xml"/>
  <Override PartName="/ppt/tags/tag48.xml" ContentType="application/vnd.openxmlformats-officedocument.presentationml.tags+xml"/>
  <Override PartName="/ppt/charts/chart33.xml" ContentType="application/vnd.openxmlformats-officedocument.drawingml.chart+xml"/>
  <Override PartName="/ppt/tags/tag49.xml" ContentType="application/vnd.openxmlformats-officedocument.presentationml.tags+xml"/>
  <Override PartName="/ppt/charts/chart34.xml" ContentType="application/vnd.openxmlformats-officedocument.drawingml.chart+xml"/>
  <Override PartName="/ppt/tags/tag50.xml" ContentType="application/vnd.openxmlformats-officedocument.presentationml.tags+xml"/>
  <Override PartName="/ppt/charts/chart35.xml" ContentType="application/vnd.openxmlformats-officedocument.drawingml.chart+xml"/>
  <Override PartName="/ppt/tags/tag51.xml" ContentType="application/vnd.openxmlformats-officedocument.presentationml.tags+xml"/>
  <Override PartName="/ppt/charts/chart36.xml" ContentType="application/vnd.openxmlformats-officedocument.drawingml.chart+xml"/>
  <Override PartName="/ppt/tags/tag52.xml" ContentType="application/vnd.openxmlformats-officedocument.presentationml.tags+xml"/>
  <Override PartName="/ppt/charts/chart37.xml" ContentType="application/vnd.openxmlformats-officedocument.drawingml.chart+xml"/>
  <Override PartName="/ppt/tags/tag53.xml" ContentType="application/vnd.openxmlformats-officedocument.presentationml.tags+xml"/>
  <Override PartName="/ppt/charts/chart38.xml" ContentType="application/vnd.openxmlformats-officedocument.drawingml.chart+xml"/>
  <Override PartName="/ppt/tags/tag54.xml" ContentType="application/vnd.openxmlformats-officedocument.presentationml.tags+xml"/>
  <Override PartName="/ppt/charts/chart39.xml" ContentType="application/vnd.openxmlformats-officedocument.drawingml.chart+xml"/>
  <Override PartName="/ppt/tags/tag55.xml" ContentType="application/vnd.openxmlformats-officedocument.presentationml.tags+xml"/>
  <Override PartName="/ppt/charts/chart40.xml" ContentType="application/vnd.openxmlformats-officedocument.drawingml.chart+xml"/>
  <Override PartName="/ppt/tags/tag56.xml" ContentType="application/vnd.openxmlformats-officedocument.presentationml.tags+xml"/>
  <Override PartName="/ppt/charts/chart41.xml" ContentType="application/vnd.openxmlformats-officedocument.drawingml.chart+xml"/>
  <Override PartName="/ppt/tags/tag57.xml" ContentType="application/vnd.openxmlformats-officedocument.presentationml.tags+xml"/>
  <Override PartName="/ppt/charts/chart42.xml" ContentType="application/vnd.openxmlformats-officedocument.drawingml.chart+xml"/>
  <Override PartName="/ppt/tags/tag58.xml" ContentType="application/vnd.openxmlformats-officedocument.presentationml.tags+xml"/>
  <Override PartName="/ppt/charts/chart43.xml" ContentType="application/vnd.openxmlformats-officedocument.drawingml.chart+xml"/>
  <Override PartName="/ppt/tags/tag59.xml" ContentType="application/vnd.openxmlformats-officedocument.presentationml.tags+xml"/>
  <Override PartName="/ppt/charts/chart44.xml" ContentType="application/vnd.openxmlformats-officedocument.drawingml.chart+xml"/>
  <Override PartName="/ppt/tags/tag60.xml" ContentType="application/vnd.openxmlformats-officedocument.presentationml.tags+xml"/>
  <Override PartName="/ppt/charts/chart45.xml" ContentType="application/vnd.openxmlformats-officedocument.drawingml.chart+xml"/>
  <Override PartName="/ppt/tags/tag61.xml" ContentType="application/vnd.openxmlformats-officedocument.presentationml.tags+xml"/>
  <Override PartName="/ppt/charts/chart46.xml" ContentType="application/vnd.openxmlformats-officedocument.drawingml.chart+xml"/>
  <Override PartName="/ppt/tags/tag62.xml" ContentType="application/vnd.openxmlformats-officedocument.presentationml.tags+xml"/>
  <Override PartName="/ppt/charts/chart47.xml" ContentType="application/vnd.openxmlformats-officedocument.drawingml.chart+xml"/>
  <Override PartName="/ppt/tags/tag63.xml" ContentType="application/vnd.openxmlformats-officedocument.presentationml.tags+xml"/>
  <Override PartName="/ppt/charts/chart48.xml" ContentType="application/vnd.openxmlformats-officedocument.drawingml.chart+xml"/>
  <Override PartName="/ppt/tags/tag64.xml" ContentType="application/vnd.openxmlformats-officedocument.presentationml.tags+xml"/>
  <Override PartName="/ppt/charts/chart49.xml" ContentType="application/vnd.openxmlformats-officedocument.drawingml.chart+xml"/>
  <Override PartName="/ppt/tags/tag65.xml" ContentType="application/vnd.openxmlformats-officedocument.presentationml.tags+xml"/>
  <Override PartName="/ppt/charts/chart50.xml" ContentType="application/vnd.openxmlformats-officedocument.drawingml.chart+xml"/>
  <Override PartName="/ppt/tags/tag66.xml" ContentType="application/vnd.openxmlformats-officedocument.presentationml.tags+xml"/>
  <Override PartName="/ppt/charts/chart51.xml" ContentType="application/vnd.openxmlformats-officedocument.drawingml.chart+xml"/>
  <Override PartName="/ppt/tags/tag67.xml" ContentType="application/vnd.openxmlformats-officedocument.presentationml.tags+xml"/>
  <Override PartName="/ppt/charts/chart52.xml" ContentType="application/vnd.openxmlformats-officedocument.drawingml.chart+xml"/>
  <Override PartName="/ppt/tags/tag68.xml" ContentType="application/vnd.openxmlformats-officedocument.presentationml.tags+xml"/>
  <Override PartName="/ppt/charts/chart53.xml" ContentType="application/vnd.openxmlformats-officedocument.drawingml.chart+xml"/>
  <Override PartName="/ppt/tags/tag69.xml" ContentType="application/vnd.openxmlformats-officedocument.presentationml.tags+xml"/>
  <Override PartName="/ppt/charts/chart54.xml" ContentType="application/vnd.openxmlformats-officedocument.drawingml.chart+xml"/>
  <Override PartName="/ppt/tags/tag70.xml" ContentType="application/vnd.openxmlformats-officedocument.presentationml.tags+xml"/>
  <Override PartName="/ppt/charts/chart55.xml" ContentType="application/vnd.openxmlformats-officedocument.drawingml.chart+xml"/>
  <Override PartName="/ppt/tags/tag71.xml" ContentType="application/vnd.openxmlformats-officedocument.presentationml.tags+xml"/>
  <Override PartName="/ppt/charts/chart56.xml" ContentType="application/vnd.openxmlformats-officedocument.drawingml.chart+xml"/>
  <Override PartName="/ppt/tags/tag72.xml" ContentType="application/vnd.openxmlformats-officedocument.presentationml.tags+xml"/>
  <Override PartName="/ppt/charts/chart57.xml" ContentType="application/vnd.openxmlformats-officedocument.drawingml.chart+xml"/>
  <Override PartName="/ppt/tags/tag73.xml" ContentType="application/vnd.openxmlformats-officedocument.presentationml.tags+xml"/>
  <Override PartName="/ppt/charts/chart58.xml" ContentType="application/vnd.openxmlformats-officedocument.drawingml.chart+xml"/>
  <Override PartName="/ppt/tags/tag74.xml" ContentType="application/vnd.openxmlformats-officedocument.presentationml.tags+xml"/>
  <Override PartName="/ppt/charts/chart59.xml" ContentType="application/vnd.openxmlformats-officedocument.drawingml.chart+xml"/>
  <Override PartName="/ppt/tags/tag75.xml" ContentType="application/vnd.openxmlformats-officedocument.presentationml.tags+xml"/>
  <Override PartName="/ppt/charts/chart60.xml" ContentType="application/vnd.openxmlformats-officedocument.drawingml.chart+xml"/>
  <Override PartName="/ppt/tags/tag76.xml" ContentType="application/vnd.openxmlformats-officedocument.presentationml.tags+xml"/>
  <Override PartName="/ppt/charts/chart61.xml" ContentType="application/vnd.openxmlformats-officedocument.drawingml.chart+xml"/>
  <Override PartName="/ppt/tags/tag77.xml" ContentType="application/vnd.openxmlformats-officedocument.presentationml.tags+xml"/>
  <Override PartName="/ppt/charts/chart62.xml" ContentType="application/vnd.openxmlformats-officedocument.drawingml.chart+xml"/>
  <Override PartName="/ppt/tags/tag78.xml" ContentType="application/vnd.openxmlformats-officedocument.presentationml.tags+xml"/>
  <Override PartName="/ppt/charts/chart63.xml" ContentType="application/vnd.openxmlformats-officedocument.drawingml.chart+xml"/>
  <Override PartName="/ppt/tags/tag79.xml" ContentType="application/vnd.openxmlformats-officedocument.presentationml.tags+xml"/>
  <Override PartName="/ppt/notesSlides/notesSlide1.xml" ContentType="application/vnd.openxmlformats-officedocument.presentationml.notesSlide+xml"/>
  <Override PartName="/ppt/tags/tag80.xml" ContentType="application/vnd.openxmlformats-officedocument.presentationml.tags+xml"/>
  <Override PartName="/ppt/notesSlides/notesSlide2.xml" ContentType="application/vnd.openxmlformats-officedocument.presentationml.notesSlide+xml"/>
  <Override PartName="/ppt/tags/tag81.xml" ContentType="application/vnd.openxmlformats-officedocument.presentationml.tags+xml"/>
  <Override PartName="/ppt/notesSlides/notesSlide3.xml" ContentType="application/vnd.openxmlformats-officedocument.presentationml.notesSlide+xml"/>
  <Override PartName="/ppt/tags/tag82.xml" ContentType="application/vnd.openxmlformats-officedocument.presentationml.tags+xml"/>
  <Override PartName="/ppt/notesSlides/notesSlide4.xml" ContentType="application/vnd.openxmlformats-officedocument.presentationml.notesSlide+xml"/>
  <Override PartName="/ppt/tags/tag83.xml" ContentType="application/vnd.openxmlformats-officedocument.presentationml.tags+xml"/>
  <Override PartName="/ppt/notesSlides/notesSlide5.xml" ContentType="application/vnd.openxmlformats-officedocument.presentationml.notesSlide+xml"/>
  <Override PartName="/ppt/tags/tag84.xml" ContentType="application/vnd.openxmlformats-officedocument.presentationml.tags+xml"/>
  <Override PartName="/ppt/notesSlides/notesSlide6.xml" ContentType="application/vnd.openxmlformats-officedocument.presentationml.notesSlide+xml"/>
  <Override PartName="/ppt/tags/tag85.xml" ContentType="application/vnd.openxmlformats-officedocument.presentationml.tags+xml"/>
  <Override PartName="/ppt/notesSlides/notesSlide7.xml" ContentType="application/vnd.openxmlformats-officedocument.presentationml.notesSlide+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notesSlides/notesSlide9.xml" ContentType="application/vnd.openxmlformats-officedocument.presentationml.notesSlide+xml"/>
  <Override PartName="/ppt/tags/tag88.xml" ContentType="application/vnd.openxmlformats-officedocument.presentationml.tags+xml"/>
  <Override PartName="/ppt/notesSlides/notesSlide10.xml" ContentType="application/vnd.openxmlformats-officedocument.presentationml.notesSlide+xml"/>
  <Override PartName="/ppt/tags/tag89.xml" ContentType="application/vnd.openxmlformats-officedocument.presentationml.tags+xml"/>
  <Override PartName="/ppt/notesSlides/notesSlide11.xml" ContentType="application/vnd.openxmlformats-officedocument.presentationml.notesSlide+xml"/>
  <Override PartName="/ppt/tags/tag90.xml" ContentType="application/vnd.openxmlformats-officedocument.presentationml.tags+xml"/>
  <Override PartName="/ppt/notesSlides/notesSlide12.xml" ContentType="application/vnd.openxmlformats-officedocument.presentationml.notesSlide+xml"/>
  <Override PartName="/ppt/tags/tag91.xml" ContentType="application/vnd.openxmlformats-officedocument.presentationml.tags+xml"/>
  <Override PartName="/ppt/notesSlides/notesSlide13.xml" ContentType="application/vnd.openxmlformats-officedocument.presentationml.notesSlide+xml"/>
  <Override PartName="/ppt/charts/chart64.xml" ContentType="application/vnd.openxmlformats-officedocument.drawingml.chart+xml"/>
  <Override PartName="/ppt/charts/style1.xml" ContentType="application/vnd.ms-office.chartstyle+xml"/>
  <Override PartName="/ppt/charts/colors1.xml" ContentType="application/vnd.ms-office.chartcolorstyle+xml"/>
  <Override PartName="/ppt/tags/tag92.xml" ContentType="application/vnd.openxmlformats-officedocument.presentationml.tags+xml"/>
  <Override PartName="/ppt/notesSlides/notesSlide14.xml" ContentType="application/vnd.openxmlformats-officedocument.presentationml.notesSlide+xml"/>
  <Override PartName="/ppt/charts/chart65.xml" ContentType="application/vnd.openxmlformats-officedocument.drawingml.chart+xml"/>
  <Override PartName="/ppt/charts/style2.xml" ContentType="application/vnd.ms-office.chartstyle+xml"/>
  <Override PartName="/ppt/charts/colors2.xml" ContentType="application/vnd.ms-office.chartcolorstyle+xml"/>
  <Override PartName="/ppt/tags/tag93.xml" ContentType="application/vnd.openxmlformats-officedocument.presentationml.tags+xml"/>
  <Override PartName="/ppt/notesSlides/notesSlide15.xml" ContentType="application/vnd.openxmlformats-officedocument.presentationml.notesSlide+xml"/>
  <Override PartName="/ppt/charts/chart66.xml" ContentType="application/vnd.openxmlformats-officedocument.drawingml.chart+xml"/>
  <Override PartName="/ppt/charts/style3.xml" ContentType="application/vnd.ms-office.chartstyle+xml"/>
  <Override PartName="/ppt/charts/colors3.xml" ContentType="application/vnd.ms-office.chartcolorstyle+xml"/>
  <Override PartName="/ppt/tags/tag94.xml" ContentType="application/vnd.openxmlformats-officedocument.presentationml.tags+xml"/>
  <Override PartName="/ppt/notesSlides/notesSlide16.xml" ContentType="application/vnd.openxmlformats-officedocument.presentationml.notesSlide+xml"/>
  <Override PartName="/ppt/charts/chart67.xml" ContentType="application/vnd.openxmlformats-officedocument.drawingml.chart+xml"/>
  <Override PartName="/ppt/charts/style4.xml" ContentType="application/vnd.ms-office.chartstyle+xml"/>
  <Override PartName="/ppt/charts/colors4.xml" ContentType="application/vnd.ms-office.chartcolorstyle+xml"/>
  <Override PartName="/ppt/tags/tag95.xml" ContentType="application/vnd.openxmlformats-officedocument.presentationml.tags+xml"/>
  <Override PartName="/ppt/notesSlides/notesSlide17.xml" ContentType="application/vnd.openxmlformats-officedocument.presentationml.notesSlide+xml"/>
  <Override PartName="/ppt/charts/chart68.xml" ContentType="application/vnd.openxmlformats-officedocument.drawingml.chart+xml"/>
  <Override PartName="/ppt/charts/style5.xml" ContentType="application/vnd.ms-office.chartstyle+xml"/>
  <Override PartName="/ppt/charts/colors5.xml" ContentType="application/vnd.ms-office.chartcolorstyle+xml"/>
  <Override PartName="/ppt/tags/tag96.xml" ContentType="application/vnd.openxmlformats-officedocument.presentationml.tags+xml"/>
  <Override PartName="/ppt/notesSlides/notesSlide18.xml" ContentType="application/vnd.openxmlformats-officedocument.presentationml.notesSlide+xml"/>
  <Override PartName="/ppt/charts/chart69.xml" ContentType="application/vnd.openxmlformats-officedocument.drawingml.chart+xml"/>
  <Override PartName="/ppt/charts/style6.xml" ContentType="application/vnd.ms-office.chartstyle+xml"/>
  <Override PartName="/ppt/charts/colors6.xml" ContentType="application/vnd.ms-office.chartcolorstyle+xml"/>
  <Override PartName="/ppt/tags/tag97.xml" ContentType="application/vnd.openxmlformats-officedocument.presentationml.tags+xml"/>
  <Override PartName="/ppt/notesSlides/notesSlide19.xml" ContentType="application/vnd.openxmlformats-officedocument.presentationml.notesSlide+xml"/>
  <Override PartName="/ppt/charts/chart70.xml" ContentType="application/vnd.openxmlformats-officedocument.drawingml.chart+xml"/>
  <Override PartName="/ppt/charts/style7.xml" ContentType="application/vnd.ms-office.chartstyle+xml"/>
  <Override PartName="/ppt/charts/colors7.xml" ContentType="application/vnd.ms-office.chartcolorstyle+xml"/>
  <Override PartName="/ppt/tags/tag98.xml" ContentType="application/vnd.openxmlformats-officedocument.presentationml.tags+xml"/>
  <Override PartName="/ppt/notesSlides/notesSlide20.xml" ContentType="application/vnd.openxmlformats-officedocument.presentationml.notesSlide+xml"/>
  <Override PartName="/ppt/charts/chart71.xml" ContentType="application/vnd.openxmlformats-officedocument.drawingml.chart+xml"/>
  <Override PartName="/ppt/charts/style8.xml" ContentType="application/vnd.ms-office.chartstyle+xml"/>
  <Override PartName="/ppt/charts/colors8.xml" ContentType="application/vnd.ms-office.chartcolorstyle+xml"/>
  <Override PartName="/ppt/tags/tag99.xml" ContentType="application/vnd.openxmlformats-officedocument.presentationml.tags+xml"/>
  <Override PartName="/ppt/notesSlides/notesSlide21.xml" ContentType="application/vnd.openxmlformats-officedocument.presentationml.notesSlide+xml"/>
  <Override PartName="/ppt/charts/chart72.xml" ContentType="application/vnd.openxmlformats-officedocument.drawingml.chart+xml"/>
  <Override PartName="/ppt/charts/style9.xml" ContentType="application/vnd.ms-office.chartstyle+xml"/>
  <Override PartName="/ppt/charts/colors9.xml" ContentType="application/vnd.ms-office.chartcolorstyle+xml"/>
  <Override PartName="/ppt/tags/tag100.xml" ContentType="application/vnd.openxmlformats-officedocument.presentationml.tags+xml"/>
  <Override PartName="/ppt/notesSlides/notesSlide22.xml" ContentType="application/vnd.openxmlformats-officedocument.presentationml.notesSlide+xml"/>
  <Override PartName="/ppt/charts/chart73.xml" ContentType="application/vnd.openxmlformats-officedocument.drawingml.chart+xml"/>
  <Override PartName="/ppt/charts/style10.xml" ContentType="application/vnd.ms-office.chartstyle+xml"/>
  <Override PartName="/ppt/charts/colors10.xml" ContentType="application/vnd.ms-office.chartcolorstyle+xml"/>
  <Override PartName="/ppt/tags/tag101.xml" ContentType="application/vnd.openxmlformats-officedocument.presentationml.tags+xml"/>
  <Override PartName="/ppt/notesSlides/notesSlide23.xml" ContentType="application/vnd.openxmlformats-officedocument.presentationml.notesSlide+xml"/>
  <Override PartName="/ppt/charts/chart74.xml" ContentType="application/vnd.openxmlformats-officedocument.drawingml.chart+xml"/>
  <Override PartName="/ppt/charts/style11.xml" ContentType="application/vnd.ms-office.chartstyle+xml"/>
  <Override PartName="/ppt/charts/colors11.xml" ContentType="application/vnd.ms-office.chartcolorstyle+xml"/>
  <Override PartName="/ppt/tags/tag102.xml" ContentType="application/vnd.openxmlformats-officedocument.presentationml.tags+xml"/>
  <Override PartName="/ppt/notesSlides/notesSlide24.xml" ContentType="application/vnd.openxmlformats-officedocument.presentationml.notesSlide+xml"/>
  <Override PartName="/ppt/charts/chart75.xml" ContentType="application/vnd.openxmlformats-officedocument.drawingml.chart+xml"/>
  <Override PartName="/ppt/charts/style12.xml" ContentType="application/vnd.ms-office.chartstyle+xml"/>
  <Override PartName="/ppt/charts/colors12.xml" ContentType="application/vnd.ms-office.chartcolorstyle+xml"/>
  <Override PartName="/ppt/tags/tag103.xml" ContentType="application/vnd.openxmlformats-officedocument.presentationml.tags+xml"/>
  <Override PartName="/ppt/notesSlides/notesSlide25.xml" ContentType="application/vnd.openxmlformats-officedocument.presentationml.notesSlide+xml"/>
  <Override PartName="/ppt/charts/chart76.xml" ContentType="application/vnd.openxmlformats-officedocument.drawingml.chart+xml"/>
  <Override PartName="/ppt/charts/style13.xml" ContentType="application/vnd.ms-office.chartstyle+xml"/>
  <Override PartName="/ppt/charts/colors13.xml" ContentType="application/vnd.ms-office.chartcolorstyle+xml"/>
  <Override PartName="/ppt/tags/tag104.xml" ContentType="application/vnd.openxmlformats-officedocument.presentationml.tags+xml"/>
  <Override PartName="/ppt/notesSlides/notesSlide26.xml" ContentType="application/vnd.openxmlformats-officedocument.presentationml.notesSlide+xml"/>
  <Override PartName="/ppt/charts/chart77.xml" ContentType="application/vnd.openxmlformats-officedocument.drawingml.chart+xml"/>
  <Override PartName="/ppt/charts/style14.xml" ContentType="application/vnd.ms-office.chartstyle+xml"/>
  <Override PartName="/ppt/charts/colors14.xml" ContentType="application/vnd.ms-office.chartcolorstyle+xml"/>
  <Override PartName="/ppt/tags/tag105.xml" ContentType="application/vnd.openxmlformats-officedocument.presentationml.tags+xml"/>
  <Override PartName="/ppt/notesSlides/notesSlide27.xml" ContentType="application/vnd.openxmlformats-officedocument.presentationml.notesSlide+xml"/>
  <Override PartName="/ppt/charts/chart78.xml" ContentType="application/vnd.openxmlformats-officedocument.drawingml.chart+xml"/>
  <Override PartName="/ppt/charts/style15.xml" ContentType="application/vnd.ms-office.chartstyle+xml"/>
  <Override PartName="/ppt/charts/colors15.xml" ContentType="application/vnd.ms-office.chartcolorstyle+xml"/>
  <Override PartName="/ppt/tags/tag106.xml" ContentType="application/vnd.openxmlformats-officedocument.presentationml.tags+xml"/>
  <Override PartName="/ppt/notesSlides/notesSlide28.xml" ContentType="application/vnd.openxmlformats-officedocument.presentationml.notesSlide+xml"/>
  <Override PartName="/ppt/charts/chart79.xml" ContentType="application/vnd.openxmlformats-officedocument.drawingml.chart+xml"/>
  <Override PartName="/ppt/charts/style16.xml" ContentType="application/vnd.ms-office.chartstyle+xml"/>
  <Override PartName="/ppt/charts/colors16.xml" ContentType="application/vnd.ms-office.chartcolorstyle+xml"/>
  <Override PartName="/ppt/tags/tag107.xml" ContentType="application/vnd.openxmlformats-officedocument.presentationml.tags+xml"/>
  <Override PartName="/ppt/notesSlides/notesSlide29.xml" ContentType="application/vnd.openxmlformats-officedocument.presentationml.notesSlide+xml"/>
  <Override PartName="/ppt/charts/chart80.xml" ContentType="application/vnd.openxmlformats-officedocument.drawingml.chart+xml"/>
  <Override PartName="/ppt/charts/style17.xml" ContentType="application/vnd.ms-office.chartstyle+xml"/>
  <Override PartName="/ppt/charts/colors17.xml" ContentType="application/vnd.ms-office.chartcolorstyle+xml"/>
  <Override PartName="/ppt/tags/tag108.xml" ContentType="application/vnd.openxmlformats-officedocument.presentationml.tags+xml"/>
  <Override PartName="/ppt/notesSlides/notesSlide30.xml" ContentType="application/vnd.openxmlformats-officedocument.presentationml.notesSlide+xml"/>
  <Override PartName="/ppt/charts/chart81.xml" ContentType="application/vnd.openxmlformats-officedocument.drawingml.chart+xml"/>
  <Override PartName="/ppt/charts/style18.xml" ContentType="application/vnd.ms-office.chartstyle+xml"/>
  <Override PartName="/ppt/charts/colors18.xml" ContentType="application/vnd.ms-office.chartcolorstyle+xml"/>
  <Override PartName="/ppt/tags/tag109.xml" ContentType="application/vnd.openxmlformats-officedocument.presentationml.tags+xml"/>
  <Override PartName="/ppt/notesSlides/notesSlide31.xml" ContentType="application/vnd.openxmlformats-officedocument.presentationml.notesSlide+xml"/>
  <Override PartName="/ppt/charts/chart82.xml" ContentType="application/vnd.openxmlformats-officedocument.drawingml.chart+xml"/>
  <Override PartName="/ppt/charts/style19.xml" ContentType="application/vnd.ms-office.chartstyle+xml"/>
  <Override PartName="/ppt/charts/colors19.xml" ContentType="application/vnd.ms-office.chartcolorstyle+xml"/>
  <Override PartName="/ppt/tags/tag110.xml" ContentType="application/vnd.openxmlformats-officedocument.presentationml.tags+xml"/>
  <Override PartName="/ppt/notesSlides/notesSlide32.xml" ContentType="application/vnd.openxmlformats-officedocument.presentationml.notesSlide+xml"/>
  <Override PartName="/ppt/charts/chart83.xml" ContentType="application/vnd.openxmlformats-officedocument.drawingml.chart+xml"/>
  <Override PartName="/ppt/charts/style20.xml" ContentType="application/vnd.ms-office.chartstyle+xml"/>
  <Override PartName="/ppt/charts/colors20.xml" ContentType="application/vnd.ms-office.chartcolorstyle+xml"/>
  <Override PartName="/ppt/tags/tag111.xml" ContentType="application/vnd.openxmlformats-officedocument.presentationml.tags+xml"/>
  <Override PartName="/ppt/notesSlides/notesSlide33.xml" ContentType="application/vnd.openxmlformats-officedocument.presentationml.notesSlide+xml"/>
  <Override PartName="/ppt/charts/chart84.xml" ContentType="application/vnd.openxmlformats-officedocument.drawingml.chart+xml"/>
  <Override PartName="/ppt/charts/style21.xml" ContentType="application/vnd.ms-office.chartstyle+xml"/>
  <Override PartName="/ppt/charts/colors21.xml" ContentType="application/vnd.ms-office.chartcolorstyle+xml"/>
  <Override PartName="/ppt/tags/tag112.xml" ContentType="application/vnd.openxmlformats-officedocument.presentationml.tags+xml"/>
  <Override PartName="/ppt/notesSlides/notesSlide34.xml" ContentType="application/vnd.openxmlformats-officedocument.presentationml.notesSlide+xml"/>
  <Override PartName="/ppt/charts/chart85.xml" ContentType="application/vnd.openxmlformats-officedocument.drawingml.chart+xml"/>
  <Override PartName="/ppt/charts/style22.xml" ContentType="application/vnd.ms-office.chartstyle+xml"/>
  <Override PartName="/ppt/charts/colors22.xml" ContentType="application/vnd.ms-office.chartcolorstyle+xml"/>
  <Override PartName="/ppt/tags/tag113.xml" ContentType="application/vnd.openxmlformats-officedocument.presentationml.tags+xml"/>
  <Override PartName="/ppt/notesSlides/notesSlide35.xml" ContentType="application/vnd.openxmlformats-officedocument.presentationml.notesSlide+xml"/>
  <Override PartName="/ppt/charts/chart86.xml" ContentType="application/vnd.openxmlformats-officedocument.drawingml.chart+xml"/>
  <Override PartName="/ppt/charts/style23.xml" ContentType="application/vnd.ms-office.chartstyle+xml"/>
  <Override PartName="/ppt/charts/colors23.xml" ContentType="application/vnd.ms-office.chartcolorstyle+xml"/>
  <Override PartName="/ppt/tags/tag114.xml" ContentType="application/vnd.openxmlformats-officedocument.presentationml.tags+xml"/>
  <Override PartName="/ppt/notesSlides/notesSlide36.xml" ContentType="application/vnd.openxmlformats-officedocument.presentationml.notesSlide+xml"/>
  <Override PartName="/ppt/charts/chart87.xml" ContentType="application/vnd.openxmlformats-officedocument.drawingml.chart+xml"/>
  <Override PartName="/ppt/charts/style24.xml" ContentType="application/vnd.ms-office.chartstyle+xml"/>
  <Override PartName="/ppt/charts/colors24.xml" ContentType="application/vnd.ms-office.chartcolorstyle+xml"/>
  <Override PartName="/ppt/tags/tag115.xml" ContentType="application/vnd.openxmlformats-officedocument.presentationml.tags+xml"/>
  <Override PartName="/ppt/notesSlides/notesSlide37.xml" ContentType="application/vnd.openxmlformats-officedocument.presentationml.notesSlide+xml"/>
  <Override PartName="/ppt/charts/chart88.xml" ContentType="application/vnd.openxmlformats-officedocument.drawingml.chart+xml"/>
  <Override PartName="/ppt/charts/style25.xml" ContentType="application/vnd.ms-office.chartstyle+xml"/>
  <Override PartName="/ppt/charts/colors25.xml" ContentType="application/vnd.ms-office.chartcolorstyle+xml"/>
  <Override PartName="/ppt/tags/tag116.xml" ContentType="application/vnd.openxmlformats-officedocument.presentationml.tags+xml"/>
  <Override PartName="/ppt/notesSlides/notesSlide38.xml" ContentType="application/vnd.openxmlformats-officedocument.presentationml.notesSlide+xml"/>
  <Override PartName="/ppt/charts/chart89.xml" ContentType="application/vnd.openxmlformats-officedocument.drawingml.chart+xml"/>
  <Override PartName="/ppt/charts/style26.xml" ContentType="application/vnd.ms-office.chartstyle+xml"/>
  <Override PartName="/ppt/charts/colors26.xml" ContentType="application/vnd.ms-office.chartcolorstyle+xml"/>
  <Override PartName="/ppt/tags/tag117.xml" ContentType="application/vnd.openxmlformats-officedocument.presentationml.tags+xml"/>
  <Override PartName="/ppt/notesSlides/notesSlide39.xml" ContentType="application/vnd.openxmlformats-officedocument.presentationml.notesSlide+xml"/>
  <Override PartName="/ppt/charts/chart90.xml" ContentType="application/vnd.openxmlformats-officedocument.drawingml.chart+xml"/>
  <Override PartName="/ppt/charts/style27.xml" ContentType="application/vnd.ms-office.chartstyle+xml"/>
  <Override PartName="/ppt/charts/colors27.xml" ContentType="application/vnd.ms-office.chartcolorstyle+xml"/>
  <Override PartName="/ppt/tags/tag118.xml" ContentType="application/vnd.openxmlformats-officedocument.presentationml.tags+xml"/>
  <Override PartName="/ppt/notesSlides/notesSlide40.xml" ContentType="application/vnd.openxmlformats-officedocument.presentationml.notesSlide+xml"/>
  <Override PartName="/ppt/charts/chart91.xml" ContentType="application/vnd.openxmlformats-officedocument.drawingml.chart+xml"/>
  <Override PartName="/ppt/charts/style28.xml" ContentType="application/vnd.ms-office.chartstyle+xml"/>
  <Override PartName="/ppt/charts/colors28.xml" ContentType="application/vnd.ms-office.chartcolorstyle+xml"/>
  <Override PartName="/ppt/tags/tag119.xml" ContentType="application/vnd.openxmlformats-officedocument.presentationml.tags+xml"/>
  <Override PartName="/ppt/notesSlides/notesSlide41.xml" ContentType="application/vnd.openxmlformats-officedocument.presentationml.notesSlide+xml"/>
  <Override PartName="/ppt/charts/chart92.xml" ContentType="application/vnd.openxmlformats-officedocument.drawingml.chart+xml"/>
  <Override PartName="/ppt/charts/style29.xml" ContentType="application/vnd.ms-office.chartstyle+xml"/>
  <Override PartName="/ppt/charts/colors29.xml" ContentType="application/vnd.ms-office.chartcolorstyle+xml"/>
  <Override PartName="/ppt/tags/tag120.xml" ContentType="application/vnd.openxmlformats-officedocument.presentationml.tags+xml"/>
  <Override PartName="/ppt/notesSlides/notesSlide42.xml" ContentType="application/vnd.openxmlformats-officedocument.presentationml.notesSlide+xml"/>
  <Override PartName="/ppt/charts/chart93.xml" ContentType="application/vnd.openxmlformats-officedocument.drawingml.chart+xml"/>
  <Override PartName="/ppt/charts/style30.xml" ContentType="application/vnd.ms-office.chartstyle+xml"/>
  <Override PartName="/ppt/charts/colors3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98"/>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53C219A6-6359-46D7-96A0-A2BCFE636DF6}">
          <p14:sldIdLst>
            <p14:sldId id="2147477365"/>
            <p14:sldId id="2147477366"/>
            <p14:sldId id="2147477367"/>
          </p14:sldIdLst>
        </p14:section>
        <p14:section name="Price Positioning Summary Sector" id="{632292CC-F3F0-4680-B2BF-9EA24B23A69F}">
          <p14:sldIdLst>
            <p14:sldId id="2147477368"/>
            <p14:sldId id="2147477369"/>
            <p14:sldId id="2147477370"/>
          </p14:sldIdLst>
        </p14:section>
        <p14:section name="Price Positioning Summary Segment" id="{217F8DFD-C69B-4D93-BC6F-8ECCE567273C}">
          <p14:sldIdLst>
            <p14:sldId id="2147477371"/>
            <p14:sldId id="2147477372"/>
            <p14:sldId id="2147477373"/>
          </p14:sldIdLst>
        </p14:section>
        <p14:section name="Price Positioning Analysis By Brands" id="{591E5860-34D4-457E-83F3-CE7EB3B5EC52}">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Lst>
        </p14:section>
        <p14:section name="Price Positioning Analysis By Manufacturer" id="{8CEAC1FD-B628-406D-80E6-040138C14CF9}">
          <p14:sldIdLst>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Lst>
        </p14:section>
        <p14:section name="Sectors Share and Growth By Brands" id="{2AE56684-8421-4134-B956-F3A4E46BA4B9}">
          <p14:sldIdLst>
            <p14:sldId id="2147477416"/>
            <p14:sldId id="2147477417"/>
            <p14:sldId id="2147477418"/>
          </p14:sldIdLst>
        </p14:section>
        <p14:section name="Segments Share and Growth By Brands" id="{3CFC3D76-6D3C-45B9-AAF2-C389BEDFD85D}">
          <p14:sldIdLst>
            <p14:sldId id="2147477419"/>
            <p14:sldId id="2147477420"/>
            <p14:sldId id="2147477421"/>
          </p14:sldIdLst>
        </p14:section>
        <p14:section name="Sectors Share and Growth By Manufacturer" id="{4EEE6251-7749-438B-A8D0-6F68A1818C2C}">
          <p14:sldIdLst>
            <p14:sldId id="2147477422"/>
            <p14:sldId id="2147477423"/>
            <p14:sldId id="2147477424"/>
          </p14:sldIdLst>
        </p14:section>
        <p14:section name="Segments Share and Growth By Manufacturer" id="{69C787D0-0A5A-4C7A-80AA-F94963F9F624}">
          <p14:sldIdLst>
            <p14:sldId id="2147477425"/>
            <p14:sldId id="2147477426"/>
            <p14:sldId id="2147477427"/>
          </p14:sldIdLst>
        </p14:section>
        <p14:section name="Sec/Seg Value Sales Vs Avg Price By Manufacturer" id="{7C0C7736-24B3-415E-946E-4AD65683984F}">
          <p14:sldIdLst>
            <p14:sldId id="2147477428"/>
            <p14:sldId id="2147477429"/>
            <p14:sldId id="2147477430"/>
          </p14:sldIdLst>
        </p14:section>
        <p14:section name="Sec/Seg Value Sales Vs Avg Price" id="{9B297208-EF69-4188-9EB1-51D491530E2B}">
          <p14:sldIdLst>
            <p14:sldId id="2147477431"/>
            <p14:sldId id="2147477432"/>
            <p14:sldId id="2147477433"/>
            <p14:sldId id="2147477434"/>
            <p14:sldId id="2147477435"/>
            <p14:sldId id="2147477436"/>
            <p14:sldId id="2147477437"/>
            <p14:sldId id="2147477438"/>
            <p14:sldId id="2147477439"/>
          </p14:sldIdLst>
        </p14:section>
        <p14:section name="Sectors Value Sales Vs Avg Price" id="{FB13EDD2-2F8C-4E3E-8F4A-BDA061DCF461}">
          <p14:sldIdLst>
            <p14:sldId id="2147477440"/>
            <p14:sldId id="2147477441"/>
            <p14:sldId id="2147477442"/>
            <p14:sldId id="2147477443"/>
            <p14:sldId id="2147477444"/>
            <p14:sldId id="2147477445"/>
            <p14:sldId id="2147477446"/>
            <p14:sldId id="2147477447"/>
            <p14:sldId id="2147477448"/>
          </p14:sldIdLst>
        </p14:section>
        <p14:section name="Segment Value Sales Vs Avg Price" id="{42A1F34C-D6BD-4532-82A7-62294BDDEC20}">
          <p14:sldIdLst>
            <p14:sldId id="2147477449"/>
            <p14:sldId id="2147477450"/>
            <p14:sldId id="2147477451"/>
            <p14:sldId id="2147477452"/>
            <p14:sldId id="2147477453"/>
            <p14:sldId id="2147477454"/>
            <p14:sldId id="2147477455"/>
            <p14:sldId id="2147477456"/>
            <p14:sldId id="2147477457"/>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5" d="100"/>
          <a:sy n="55" d="100"/>
        </p:scale>
        <p:origin x="96" y="45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1.xml"/><Relationship Id="rId1" Type="http://schemas.microsoft.com/office/2011/relationships/chartStyle" Target="style1.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2.xml"/><Relationship Id="rId1" Type="http://schemas.microsoft.com/office/2011/relationships/chartStyle" Target="style2.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3.xml"/><Relationship Id="rId1" Type="http://schemas.microsoft.com/office/2011/relationships/chartStyle" Target="style3.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4.xml"/><Relationship Id="rId1" Type="http://schemas.microsoft.com/office/2011/relationships/chartStyle" Target="style4.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5.xml"/><Relationship Id="rId1" Type="http://schemas.microsoft.com/office/2011/relationships/chartStyle" Target="style5.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xml"/><Relationship Id="rId1" Type="http://schemas.microsoft.com/office/2011/relationships/chartStyle" Target="style7.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8.xml"/><Relationship Id="rId1" Type="http://schemas.microsoft.com/office/2011/relationships/chartStyle" Target="style8.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9.xml"/><Relationship Id="rId1" Type="http://schemas.microsoft.com/office/2011/relationships/chartStyle" Target="style9.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10.xml"/><Relationship Id="rId1" Type="http://schemas.microsoft.com/office/2011/relationships/chartStyle" Target="style10.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11.xml"/><Relationship Id="rId1" Type="http://schemas.microsoft.com/office/2011/relationships/chartStyle" Target="style11.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12.xml"/><Relationship Id="rId1" Type="http://schemas.microsoft.com/office/2011/relationships/chartStyle" Target="style12.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13.xml"/><Relationship Id="rId1" Type="http://schemas.microsoft.com/office/2011/relationships/chartStyle" Target="style13.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14.xml"/><Relationship Id="rId1" Type="http://schemas.microsoft.com/office/2011/relationships/chartStyle" Target="style14.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15.xml"/><Relationship Id="rId1" Type="http://schemas.microsoft.com/office/2011/relationships/chartStyle" Target="style15.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16.xml"/><Relationship Id="rId1" Type="http://schemas.microsoft.com/office/2011/relationships/chartStyle" Target="style16.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17.xml"/><Relationship Id="rId1" Type="http://schemas.microsoft.com/office/2011/relationships/chartStyle" Target="style17.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18.xml"/><Relationship Id="rId1" Type="http://schemas.microsoft.com/office/2011/relationships/chartStyle" Target="style18.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19.xml"/><Relationship Id="rId1" Type="http://schemas.microsoft.com/office/2011/relationships/chartStyle" Target="style19.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20.xml"/><Relationship Id="rId1" Type="http://schemas.microsoft.com/office/2011/relationships/chartStyle" Target="style20.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21.xml"/><Relationship Id="rId1" Type="http://schemas.microsoft.com/office/2011/relationships/chartStyle" Target="style21.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22.xml"/><Relationship Id="rId1" Type="http://schemas.microsoft.com/office/2011/relationships/chartStyle" Target="style22.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23.xml"/><Relationship Id="rId1" Type="http://schemas.microsoft.com/office/2011/relationships/chartStyle" Target="style23.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24.xml"/><Relationship Id="rId1" Type="http://schemas.microsoft.com/office/2011/relationships/chartStyle" Target="style24.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25.xml"/><Relationship Id="rId1" Type="http://schemas.microsoft.com/office/2011/relationships/chartStyle" Target="style25.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26.xml"/><Relationship Id="rId1" Type="http://schemas.microsoft.com/office/2011/relationships/chartStyle" Target="style26.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27.xml"/><Relationship Id="rId1" Type="http://schemas.microsoft.com/office/2011/relationships/chartStyle" Target="style27.xml"/></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28.xml"/><Relationship Id="rId1" Type="http://schemas.microsoft.com/office/2011/relationships/chartStyle" Target="style28.xml"/></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29.xml"/><Relationship Id="rId1" Type="http://schemas.microsoft.com/office/2011/relationships/chartStyle" Target="style29.xml"/></Relationships>
</file>

<file path=ppt/charts/_rels/chart93.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microsoft.com/office/2011/relationships/chartColorStyle" Target="colors30.xml"/><Relationship Id="rId1" Type="http://schemas.microsoft.com/office/2011/relationships/chartStyle" Target="style30.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025959-3109-433A-B802-C70D5E418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5BC379-07A8-4DA2-A6D1-EF19C1FC4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78794D1-8A62-4475-B3DA-771AB7FC6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D925A52-A020-4732-8022-CD84EEE48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42DD27-7B9B-4C25-B2F4-1A3BDA1E5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0F5B22-EFC9-442B-A3F8-4D6047965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F82FE6-2C19-41D3-BEEB-A1A5B5100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86513A2-C2C9-4040-9E22-71CE584F1E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707999999999999</c:v>
                </c:pt>
                <c:pt idx="1">
                  <c:v>2.5295000000000001</c:v>
                </c:pt>
                <c:pt idx="2">
                  <c:v>2.7004000000000001</c:v>
                </c:pt>
                <c:pt idx="3">
                  <c:v>2.8982999999999999</c:v>
                </c:pt>
                <c:pt idx="4">
                  <c:v>3.3340999999999998</c:v>
                </c:pt>
                <c:pt idx="5">
                  <c:v>3.1894</c:v>
                </c:pt>
                <c:pt idx="6">
                  <c:v>2.9792000000000001</c:v>
                </c:pt>
                <c:pt idx="7">
                  <c:v>2.4716999999999998</c:v>
                </c:pt>
              </c:numCache>
            </c:numRef>
          </c:xVal>
          <c:yVal>
            <c:numRef>
              <c:f>Sheet1!$B$2:$B$9</c:f>
              <c:numCache>
                <c:formatCode>General</c:formatCode>
                <c:ptCount val="8"/>
                <c:pt idx="0">
                  <c:v>0.86599999999999999</c:v>
                </c:pt>
                <c:pt idx="1">
                  <c:v>0.88500000000000001</c:v>
                </c:pt>
                <c:pt idx="2">
                  <c:v>1.0760000000000001</c:v>
                </c:pt>
                <c:pt idx="3">
                  <c:v>1.1339999999999999</c:v>
                </c:pt>
                <c:pt idx="4">
                  <c:v>1.2909999999999999</c:v>
                </c:pt>
                <c:pt idx="5">
                  <c:v>0.89</c:v>
                </c:pt>
                <c:pt idx="6">
                  <c:v>1.1259999999999999</c:v>
                </c:pt>
                <c:pt idx="7">
                  <c:v>1.4450000000000001</c:v>
                </c:pt>
              </c:numCache>
            </c:numRef>
          </c:yVal>
          <c:bubbleSize>
            <c:numRef>
              <c:f>Sheet1!$C$2:$C$9</c:f>
              <c:numCache>
                <c:formatCode>General</c:formatCode>
                <c:ptCount val="8"/>
                <c:pt idx="0">
                  <c:v>3555101229</c:v>
                </c:pt>
                <c:pt idx="1">
                  <c:v>441401234</c:v>
                </c:pt>
                <c:pt idx="2">
                  <c:v>212784778</c:v>
                </c:pt>
                <c:pt idx="3">
                  <c:v>198815524</c:v>
                </c:pt>
                <c:pt idx="4">
                  <c:v>194491569</c:v>
                </c:pt>
                <c:pt idx="5">
                  <c:v>149020607</c:v>
                </c:pt>
                <c:pt idx="6">
                  <c:v>115028964</c:v>
                </c:pt>
                <c:pt idx="7">
                  <c:v>10297069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Entremon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8C3B1A-7ABD-44AC-8CD0-BDC1E2241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54512F8-27CC-4080-82CC-F88D68E82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B92B15-40D4-4F18-8C91-5239DECC8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770DAC-1038-43E4-B27F-C381270A6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8CB94CF-B1F1-4AD3-AA59-89BE49494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F592A0-1FA4-4191-ACBA-B29A2C3C8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557DEE8-12EC-42D9-BABE-B8179A6BD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15D3A1-97AF-4F1E-871C-41C7A64C2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06999999999999</c:v>
                </c:pt>
                <c:pt idx="1">
                  <c:v>2.3565</c:v>
                </c:pt>
                <c:pt idx="2">
                  <c:v>2.7509000000000001</c:v>
                </c:pt>
                <c:pt idx="3">
                  <c:v>2.9500999999999999</c:v>
                </c:pt>
                <c:pt idx="4">
                  <c:v>3.3361999999999998</c:v>
                </c:pt>
                <c:pt idx="5">
                  <c:v>3.3645999999999998</c:v>
                </c:pt>
                <c:pt idx="6">
                  <c:v>3.0628000000000002</c:v>
                </c:pt>
                <c:pt idx="7">
                  <c:v>2.4135</c:v>
                </c:pt>
              </c:numCache>
            </c:numRef>
          </c:xVal>
          <c:yVal>
            <c:numRef>
              <c:f>Sheet1!$B$2:$B$9</c:f>
              <c:numCache>
                <c:formatCode>General</c:formatCode>
                <c:ptCount val="8"/>
                <c:pt idx="0">
                  <c:v>0.83699999999999997</c:v>
                </c:pt>
                <c:pt idx="1">
                  <c:v>0.83899999999999997</c:v>
                </c:pt>
                <c:pt idx="2">
                  <c:v>1.0860000000000001</c:v>
                </c:pt>
                <c:pt idx="3">
                  <c:v>1.1259999999999999</c:v>
                </c:pt>
                <c:pt idx="4">
                  <c:v>1.2210000000000001</c:v>
                </c:pt>
                <c:pt idx="5">
                  <c:v>0.96499999999999997</c:v>
                </c:pt>
                <c:pt idx="6">
                  <c:v>1.2070000000000001</c:v>
                </c:pt>
                <c:pt idx="7">
                  <c:v>1.365</c:v>
                </c:pt>
              </c:numCache>
            </c:numRef>
          </c:yVal>
          <c:bubbleSize>
            <c:numRef>
              <c:f>Sheet1!$C$2:$C$9</c:f>
              <c:numCache>
                <c:formatCode>General</c:formatCode>
                <c:ptCount val="8"/>
                <c:pt idx="0">
                  <c:v>189926117</c:v>
                </c:pt>
                <c:pt idx="1">
                  <c:v>39277810</c:v>
                </c:pt>
                <c:pt idx="2">
                  <c:v>33117229</c:v>
                </c:pt>
                <c:pt idx="3">
                  <c:v>30253337</c:v>
                </c:pt>
                <c:pt idx="4">
                  <c:v>29411346</c:v>
                </c:pt>
                <c:pt idx="5">
                  <c:v>22557022</c:v>
                </c:pt>
                <c:pt idx="6">
                  <c:v>17199711</c:v>
                </c:pt>
                <c:pt idx="7">
                  <c:v>15801842</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CF47866-155E-4CE6-8E13-7D0498B129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3EF4171-3128-4B8A-ADB3-C8B7D7AE7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F8ED9F0-16FB-4201-997E-45D621DEF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8E3E4DD-DFFC-4421-A690-A8A4DC1E4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7D06C66-B3DF-4FBC-8A3D-D90598071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5DD90DB-7C16-45E3-8A8A-4AD00AD45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057AAFAF-3597-4874-9BCC-F666BEC93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883ED720-03F4-449F-9B90-FAE9FD070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511000000000001</c:v>
                </c:pt>
                <c:pt idx="1">
                  <c:v>2.1533000000000002</c:v>
                </c:pt>
                <c:pt idx="2">
                  <c:v>3.3626999999999998</c:v>
                </c:pt>
                <c:pt idx="3">
                  <c:v>2.6185</c:v>
                </c:pt>
                <c:pt idx="4">
                  <c:v>2.5989</c:v>
                </c:pt>
                <c:pt idx="5">
                  <c:v>2.8252000000000002</c:v>
                </c:pt>
              </c:numCache>
            </c:numRef>
          </c:xVal>
          <c:yVal>
            <c:numRef>
              <c:f>Sheet1!$B$2:$B$7</c:f>
              <c:numCache>
                <c:formatCode>General</c:formatCode>
                <c:ptCount val="6"/>
                <c:pt idx="0">
                  <c:v>0.88700000000000001</c:v>
                </c:pt>
                <c:pt idx="1">
                  <c:v>1.1140000000000001</c:v>
                </c:pt>
                <c:pt idx="2">
                  <c:v>1.74</c:v>
                </c:pt>
                <c:pt idx="3">
                  <c:v>1.357</c:v>
                </c:pt>
                <c:pt idx="4">
                  <c:v>1.0129999999999999</c:v>
                </c:pt>
                <c:pt idx="5">
                  <c:v>0.81599999999999995</c:v>
                </c:pt>
              </c:numCache>
            </c:numRef>
          </c:yVal>
          <c:bubbleSize>
            <c:numRef>
              <c:f>Sheet1!$C$2:$C$7</c:f>
              <c:numCache>
                <c:formatCode>General</c:formatCode>
                <c:ptCount val="6"/>
                <c:pt idx="0">
                  <c:v>23271110</c:v>
                </c:pt>
                <c:pt idx="1">
                  <c:v>4730575</c:v>
                </c:pt>
                <c:pt idx="2">
                  <c:v>4275865</c:v>
                </c:pt>
                <c:pt idx="3">
                  <c:v>2668533</c:v>
                </c:pt>
                <c:pt idx="4">
                  <c:v>2642649</c:v>
                </c:pt>
                <c:pt idx="5">
                  <c:v>473706</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pt idx="5">
                    <c:v>Entremon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DB8F84E-15F4-4BB0-B0DB-062365764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95A8DED4-6C77-44A8-835E-01DBD570A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57F9E9F-E3E0-4192-8098-D32E0B338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0CFEE64E-7474-453A-955C-E2C070E3BD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48A867D-CDB9-4C9F-920F-E94233F5A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EB21CE7-64B7-4E6B-BBD5-4501051C8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01DD1C87-2F48-4CC6-BE4A-40BDCECF9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058ECA7F-F56C-4807-97FA-F148B69F5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062000000000001</c:v>
                </c:pt>
                <c:pt idx="1">
                  <c:v>2.0152000000000001</c:v>
                </c:pt>
                <c:pt idx="2">
                  <c:v>3.7374999999999998</c:v>
                </c:pt>
                <c:pt idx="3">
                  <c:v>3.7753000000000001</c:v>
                </c:pt>
                <c:pt idx="4">
                  <c:v>2.641</c:v>
                </c:pt>
                <c:pt idx="5">
                  <c:v>1.556</c:v>
                </c:pt>
              </c:numCache>
            </c:numRef>
          </c:xVal>
          <c:yVal>
            <c:numRef>
              <c:f>Sheet1!$B$2:$B$7</c:f>
              <c:numCache>
                <c:formatCode>General</c:formatCode>
                <c:ptCount val="6"/>
                <c:pt idx="0">
                  <c:v>0.84</c:v>
                </c:pt>
                <c:pt idx="1">
                  <c:v>1.071</c:v>
                </c:pt>
                <c:pt idx="2">
                  <c:v>1.546</c:v>
                </c:pt>
                <c:pt idx="3">
                  <c:v>1.4550000000000001</c:v>
                </c:pt>
                <c:pt idx="4">
                  <c:v>1.421</c:v>
                </c:pt>
                <c:pt idx="5">
                  <c:v>1.1060000000000001</c:v>
                </c:pt>
              </c:numCache>
            </c:numRef>
          </c:yVal>
          <c:bubbleSize>
            <c:numRef>
              <c:f>Sheet1!$C$2:$C$7</c:f>
              <c:numCache>
                <c:formatCode>General</c:formatCode>
                <c:ptCount val="6"/>
                <c:pt idx="0">
                  <c:v>16108620</c:v>
                </c:pt>
                <c:pt idx="1">
                  <c:v>12774315</c:v>
                </c:pt>
                <c:pt idx="2">
                  <c:v>2517046</c:v>
                </c:pt>
                <c:pt idx="3">
                  <c:v>1100140</c:v>
                </c:pt>
                <c:pt idx="4">
                  <c:v>708899</c:v>
                </c:pt>
                <c:pt idx="5">
                  <c:v>105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pt idx="5">
                    <c:v>La Vache Qui Ri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F57E92-A428-4DCF-94F8-D848647390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710433-FFFB-41C7-8C3F-C65EECE1E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C9BB7C-170A-4A42-A92A-2B9098086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104EC2-15E2-497C-B521-6C2D157A1F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1C4D63B-B38A-4B1A-BE66-DE024A474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F1A475-DF0A-478C-9872-BEC82493F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F6D6DD-2937-4CF0-8989-DC6EEBC66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E9F0789-A814-4C05-9C01-E194370F4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845</c:v>
                </c:pt>
                <c:pt idx="1">
                  <c:v>3.4908000000000001</c:v>
                </c:pt>
                <c:pt idx="2">
                  <c:v>3.0055999999999998</c:v>
                </c:pt>
                <c:pt idx="3">
                  <c:v>2.2181000000000002</c:v>
                </c:pt>
                <c:pt idx="4">
                  <c:v>2.7117</c:v>
                </c:pt>
                <c:pt idx="5">
                  <c:v>3.2094999999999998</c:v>
                </c:pt>
              </c:numCache>
            </c:numRef>
          </c:xVal>
          <c:yVal>
            <c:numRef>
              <c:f>Sheet1!$B$2:$B$7</c:f>
              <c:numCache>
                <c:formatCode>General</c:formatCode>
                <c:ptCount val="6"/>
                <c:pt idx="0">
                  <c:v>0.88900000000000001</c:v>
                </c:pt>
                <c:pt idx="1">
                  <c:v>1.431</c:v>
                </c:pt>
                <c:pt idx="2">
                  <c:v>1.1040000000000001</c:v>
                </c:pt>
                <c:pt idx="3">
                  <c:v>0.64400000000000002</c:v>
                </c:pt>
                <c:pt idx="4">
                  <c:v>1.952</c:v>
                </c:pt>
                <c:pt idx="5">
                  <c:v>1.4830000000000001</c:v>
                </c:pt>
              </c:numCache>
            </c:numRef>
          </c:yVal>
          <c:bubbleSize>
            <c:numRef>
              <c:f>Sheet1!$C$2:$C$7</c:f>
              <c:numCache>
                <c:formatCode>General</c:formatCode>
                <c:ptCount val="6"/>
                <c:pt idx="0">
                  <c:v>143118908</c:v>
                </c:pt>
                <c:pt idx="1">
                  <c:v>133719924</c:v>
                </c:pt>
                <c:pt idx="2">
                  <c:v>109186832</c:v>
                </c:pt>
                <c:pt idx="3">
                  <c:v>100313963</c:v>
                </c:pt>
                <c:pt idx="4">
                  <c:v>40963436</c:v>
                </c:pt>
                <c:pt idx="5">
                  <c:v>11176159</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91A860B-9700-4D13-8FE0-F2B9C5E19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7EFFA08-0827-4DAD-B659-9D65B86379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96CBCBE-01CC-46E3-A563-16DE77F3FF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3AE6380-59BD-438E-8E88-84413CAAD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827307B-9366-431A-B096-321015A11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6A74F54-DB90-429C-B031-B14E37BB1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3DA95F7-F6F8-48BB-80F8-719DEABFA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39F23BF1-3AC6-486B-B106-837ED882B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56</c:v>
                </c:pt>
                <c:pt idx="1">
                  <c:v>1.5004999999999999</c:v>
                </c:pt>
                <c:pt idx="2">
                  <c:v>2.4567999999999999</c:v>
                </c:pt>
                <c:pt idx="3">
                  <c:v>2.2768000000000002</c:v>
                </c:pt>
                <c:pt idx="4">
                  <c:v>2.3458000000000001</c:v>
                </c:pt>
                <c:pt idx="5">
                  <c:v>2.4558</c:v>
                </c:pt>
                <c:pt idx="6">
                  <c:v>2.5592999999999999</c:v>
                </c:pt>
                <c:pt idx="7">
                  <c:v>8.8888999999999996</c:v>
                </c:pt>
              </c:numCache>
            </c:numRef>
          </c:xVal>
          <c:yVal>
            <c:numRef>
              <c:f>Sheet1!$B$2:$B$9</c:f>
              <c:numCache>
                <c:formatCode>General</c:formatCode>
                <c:ptCount val="8"/>
                <c:pt idx="0">
                  <c:v>1.1499999999999999</c:v>
                </c:pt>
                <c:pt idx="1">
                  <c:v>0.68899999999999995</c:v>
                </c:pt>
                <c:pt idx="2">
                  <c:v>1.0349999999999999</c:v>
                </c:pt>
                <c:pt idx="3">
                  <c:v>1.1140000000000001</c:v>
                </c:pt>
                <c:pt idx="4">
                  <c:v>1.3320000000000001</c:v>
                </c:pt>
                <c:pt idx="5">
                  <c:v>1.099</c:v>
                </c:pt>
                <c:pt idx="6">
                  <c:v>1.5149999999999999</c:v>
                </c:pt>
                <c:pt idx="7">
                  <c:v>0.80100000000000005</c:v>
                </c:pt>
              </c:numCache>
            </c:numRef>
          </c:yVal>
          <c:bubbleSize>
            <c:numRef>
              <c:f>Sheet1!$C$2:$C$9</c:f>
              <c:numCache>
                <c:formatCode>General</c:formatCode>
                <c:ptCount val="8"/>
                <c:pt idx="0">
                  <c:v>188621011</c:v>
                </c:pt>
                <c:pt idx="1">
                  <c:v>139659774</c:v>
                </c:pt>
                <c:pt idx="2">
                  <c:v>89110867</c:v>
                </c:pt>
                <c:pt idx="3">
                  <c:v>74612015</c:v>
                </c:pt>
                <c:pt idx="4">
                  <c:v>69893459</c:v>
                </c:pt>
                <c:pt idx="5">
                  <c:v>40894571</c:v>
                </c:pt>
                <c:pt idx="6">
                  <c:v>5842132</c:v>
                </c:pt>
                <c:pt idx="7">
                  <c:v>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1CE25EEE-26BE-4DBD-8FC0-F7A6D16CC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526FCFE-49CD-4621-8CB1-D50C5F6E0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E9F599E6-B128-4349-8E30-26B501928B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C875815D-0950-4F5F-91EF-A27BAE2C4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51ABC25C-DE38-4BD8-B747-314DECD1B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9DF93770-F754-4FD2-822B-422182775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C0C52F13-2301-42A0-97DA-B41D5FC7E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8CA02E6-73B8-4D52-8EA4-BED9DF99B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124000000000001</c:v>
                </c:pt>
                <c:pt idx="1">
                  <c:v>2.2103999999999999</c:v>
                </c:pt>
                <c:pt idx="2">
                  <c:v>2.1956000000000002</c:v>
                </c:pt>
                <c:pt idx="3">
                  <c:v>2.9782000000000002</c:v>
                </c:pt>
                <c:pt idx="4">
                  <c:v>2.7964000000000002</c:v>
                </c:pt>
                <c:pt idx="5">
                  <c:v>2.2454000000000001</c:v>
                </c:pt>
              </c:numCache>
            </c:numRef>
          </c:xVal>
          <c:yVal>
            <c:numRef>
              <c:f>Sheet1!$B$2:$B$7</c:f>
              <c:numCache>
                <c:formatCode>General</c:formatCode>
                <c:ptCount val="6"/>
                <c:pt idx="0">
                  <c:v>0.91200000000000003</c:v>
                </c:pt>
                <c:pt idx="1">
                  <c:v>1.0169999999999999</c:v>
                </c:pt>
                <c:pt idx="2">
                  <c:v>1.1639999999999999</c:v>
                </c:pt>
                <c:pt idx="3">
                  <c:v>1.1000000000000001</c:v>
                </c:pt>
                <c:pt idx="4">
                  <c:v>1.5089999999999999</c:v>
                </c:pt>
                <c:pt idx="5">
                  <c:v>1.5149999999999999</c:v>
                </c:pt>
              </c:numCache>
            </c:numRef>
          </c:yVal>
          <c:bubbleSize>
            <c:numRef>
              <c:f>Sheet1!$C$2:$C$7</c:f>
              <c:numCache>
                <c:formatCode>General</c:formatCode>
                <c:ptCount val="6"/>
                <c:pt idx="0">
                  <c:v>648086880</c:v>
                </c:pt>
                <c:pt idx="1">
                  <c:v>128025062</c:v>
                </c:pt>
                <c:pt idx="2">
                  <c:v>80048487</c:v>
                </c:pt>
                <c:pt idx="3">
                  <c:v>67882460</c:v>
                </c:pt>
                <c:pt idx="4">
                  <c:v>18235670</c:v>
                </c:pt>
                <c:pt idx="5">
                  <c:v>1187022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9E4D25-1D1B-45D8-8820-B35F41758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B6CC6E-CB64-4E3D-9CE3-7F2D1152D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FAA66D-D1FA-4D12-BE4F-A389D4F52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016F3E-BE1B-424E-A4D4-0702719E9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9B409D-32A3-43FD-A22D-822F8AB16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56059A-2DBE-4876-A085-69532DDEC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93B31FC-967D-44C9-B1E7-EB3504FF4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BA9EE3F-B839-4EFA-B709-2AF604BF4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692000000000001</c:v>
                </c:pt>
                <c:pt idx="1">
                  <c:v>3.4565000000000001</c:v>
                </c:pt>
                <c:pt idx="2">
                  <c:v>2.9908000000000001</c:v>
                </c:pt>
                <c:pt idx="3">
                  <c:v>2.3189000000000002</c:v>
                </c:pt>
                <c:pt idx="4">
                  <c:v>2.8247</c:v>
                </c:pt>
                <c:pt idx="5">
                  <c:v>3.0139</c:v>
                </c:pt>
              </c:numCache>
            </c:numRef>
          </c:xVal>
          <c:yVal>
            <c:numRef>
              <c:f>Sheet1!$B$2:$B$7</c:f>
              <c:numCache>
                <c:formatCode>General</c:formatCode>
                <c:ptCount val="6"/>
                <c:pt idx="0">
                  <c:v>0.81499999999999995</c:v>
                </c:pt>
                <c:pt idx="1">
                  <c:v>1.363</c:v>
                </c:pt>
                <c:pt idx="2">
                  <c:v>1.036</c:v>
                </c:pt>
                <c:pt idx="3">
                  <c:v>0.69099999999999995</c:v>
                </c:pt>
                <c:pt idx="4">
                  <c:v>2.008</c:v>
                </c:pt>
                <c:pt idx="5">
                  <c:v>1.6180000000000001</c:v>
                </c:pt>
              </c:numCache>
            </c:numRef>
          </c:yVal>
          <c:bubbleSize>
            <c:numRef>
              <c:f>Sheet1!$C$2:$C$7</c:f>
              <c:numCache>
                <c:formatCode>General</c:formatCode>
                <c:ptCount val="6"/>
                <c:pt idx="0">
                  <c:v>30468308</c:v>
                </c:pt>
                <c:pt idx="1">
                  <c:v>22613796</c:v>
                </c:pt>
                <c:pt idx="2">
                  <c:v>21233281</c:v>
                </c:pt>
                <c:pt idx="3">
                  <c:v>10731593</c:v>
                </c:pt>
                <c:pt idx="4">
                  <c:v>8292955</c:v>
                </c:pt>
                <c:pt idx="5">
                  <c:v>2020643</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6BEDC17-19B6-43FE-8BF7-75D03A2121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3F475A3-16C7-4882-98C4-9FFF1C95E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1847705-0907-416B-942D-294448D23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86BE925-93AE-45A5-B3F6-8F881FF55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334035F-FBE9-4343-95EA-FF47AB027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90C869F-9D13-40C3-9E83-25A2ADAE8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EDA9B63-0797-445C-96CC-1D3C95255E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A520F203-54E6-4FC7-BF62-A7876F367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144000000000002</c:v>
                </c:pt>
                <c:pt idx="1">
                  <c:v>1.6611</c:v>
                </c:pt>
                <c:pt idx="2">
                  <c:v>2.5226999999999999</c:v>
                </c:pt>
                <c:pt idx="3">
                  <c:v>2.3923999999999999</c:v>
                </c:pt>
                <c:pt idx="4">
                  <c:v>2.4001999999999999</c:v>
                </c:pt>
                <c:pt idx="5">
                  <c:v>2.4596</c:v>
                </c:pt>
                <c:pt idx="6">
                  <c:v>2.6608000000000001</c:v>
                </c:pt>
                <c:pt idx="7">
                  <c:v>8.8888999999999996</c:v>
                </c:pt>
              </c:numCache>
            </c:numRef>
          </c:xVal>
          <c:yVal>
            <c:numRef>
              <c:f>Sheet1!$B$2:$B$9</c:f>
              <c:numCache>
                <c:formatCode>General</c:formatCode>
                <c:ptCount val="8"/>
                <c:pt idx="0">
                  <c:v>1.131</c:v>
                </c:pt>
                <c:pt idx="1">
                  <c:v>0.69099999999999995</c:v>
                </c:pt>
                <c:pt idx="2">
                  <c:v>0.98699999999999999</c:v>
                </c:pt>
                <c:pt idx="3">
                  <c:v>1.0880000000000001</c:v>
                </c:pt>
                <c:pt idx="4">
                  <c:v>1.2669999999999999</c:v>
                </c:pt>
                <c:pt idx="5">
                  <c:v>1.0169999999999999</c:v>
                </c:pt>
                <c:pt idx="6">
                  <c:v>1.4339999999999999</c:v>
                </c:pt>
                <c:pt idx="7">
                  <c:v>0.73599999999999999</c:v>
                </c:pt>
              </c:numCache>
            </c:numRef>
          </c:yVal>
          <c:bubbleSize>
            <c:numRef>
              <c:f>Sheet1!$C$2:$C$9</c:f>
              <c:numCache>
                <c:formatCode>General</c:formatCode>
                <c:ptCount val="8"/>
                <c:pt idx="0">
                  <c:v>30956719</c:v>
                </c:pt>
                <c:pt idx="1">
                  <c:v>16850297</c:v>
                </c:pt>
                <c:pt idx="2">
                  <c:v>16088426</c:v>
                </c:pt>
                <c:pt idx="3">
                  <c:v>12545434</c:v>
                </c:pt>
                <c:pt idx="4">
                  <c:v>12208672</c:v>
                </c:pt>
                <c:pt idx="5">
                  <c:v>8124232</c:v>
                </c:pt>
                <c:pt idx="6">
                  <c:v>1583106</c:v>
                </c:pt>
                <c:pt idx="7">
                  <c:v>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F7E2873-788B-41DD-8EE8-79D4983A8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B44462E-189A-45EC-9914-50FFB945A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10C6044-AF5D-4855-A77D-4A4D2BD71D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291206D-8118-4746-BC27-95E801549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EA6755C-811A-458A-8DB6-2D9101AB4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A2E3F1BB-0E17-4EB1-BC4A-039820B6A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D015DEDF-D9C9-4EEF-9AEC-BA39293F4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F96B1E9C-8E1E-4A05-83C6-55B7E2115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006</c:v>
                </c:pt>
                <c:pt idx="1">
                  <c:v>2.1936</c:v>
                </c:pt>
                <c:pt idx="2">
                  <c:v>2.3405</c:v>
                </c:pt>
                <c:pt idx="3">
                  <c:v>3.0482</c:v>
                </c:pt>
                <c:pt idx="4">
                  <c:v>2.7654000000000001</c:v>
                </c:pt>
                <c:pt idx="5">
                  <c:v>2.2364000000000002</c:v>
                </c:pt>
              </c:numCache>
            </c:numRef>
          </c:xVal>
          <c:yVal>
            <c:numRef>
              <c:f>Sheet1!$B$2:$B$7</c:f>
              <c:numCache>
                <c:formatCode>General</c:formatCode>
                <c:ptCount val="6"/>
                <c:pt idx="0">
                  <c:v>0.91800000000000004</c:v>
                </c:pt>
                <c:pt idx="1">
                  <c:v>0.94699999999999995</c:v>
                </c:pt>
                <c:pt idx="2">
                  <c:v>1.149</c:v>
                </c:pt>
                <c:pt idx="3">
                  <c:v>1.032</c:v>
                </c:pt>
                <c:pt idx="4">
                  <c:v>1.3859999999999999</c:v>
                </c:pt>
                <c:pt idx="5">
                  <c:v>1.403</c:v>
                </c:pt>
              </c:numCache>
            </c:numRef>
          </c:yVal>
          <c:bubbleSize>
            <c:numRef>
              <c:f>Sheet1!$C$2:$C$7</c:f>
              <c:numCache>
                <c:formatCode>General</c:formatCode>
                <c:ptCount val="6"/>
                <c:pt idx="0">
                  <c:v>111360239</c:v>
                </c:pt>
                <c:pt idx="1">
                  <c:v>19606463</c:v>
                </c:pt>
                <c:pt idx="2">
                  <c:v>15221952</c:v>
                </c:pt>
                <c:pt idx="3">
                  <c:v>12937123</c:v>
                </c:pt>
                <c:pt idx="4">
                  <c:v>3699783</c:v>
                </c:pt>
                <c:pt idx="5">
                  <c:v>31968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223E70-897E-4783-8646-F26C9C547E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C691BC-9F08-4B07-8D51-00B1EE806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C80FB6-2854-489D-A59D-6C93F4464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272668-7F86-4FEE-A15B-56BDF617D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41C331-23AD-43B3-95C1-C86A80940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593D54-86C9-46AF-A1D8-1DFFDB470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C4B72BD-E8C7-4153-9D46-191D20A69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8C6B37E-BF5D-40DF-AB84-3F8AB9E51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3645999999999998</c:v>
                </c:pt>
                <c:pt idx="1">
                  <c:v>3.5409000000000002</c:v>
                </c:pt>
                <c:pt idx="2">
                  <c:v>3.1012</c:v>
                </c:pt>
                <c:pt idx="3">
                  <c:v>2.0585</c:v>
                </c:pt>
                <c:pt idx="4">
                  <c:v>2.7042000000000002</c:v>
                </c:pt>
                <c:pt idx="5">
                  <c:v>3.6595</c:v>
                </c:pt>
              </c:numCache>
            </c:numRef>
          </c:xVal>
          <c:yVal>
            <c:numRef>
              <c:f>Sheet1!$B$2:$B$7</c:f>
              <c:numCache>
                <c:formatCode>General</c:formatCode>
                <c:ptCount val="6"/>
                <c:pt idx="0">
                  <c:v>0.86699999999999999</c:v>
                </c:pt>
                <c:pt idx="1">
                  <c:v>1.371</c:v>
                </c:pt>
                <c:pt idx="2">
                  <c:v>1.073</c:v>
                </c:pt>
                <c:pt idx="3">
                  <c:v>0.64100000000000001</c:v>
                </c:pt>
                <c:pt idx="4">
                  <c:v>1.871</c:v>
                </c:pt>
                <c:pt idx="5">
                  <c:v>1.278</c:v>
                </c:pt>
              </c:numCache>
            </c:numRef>
          </c:yVal>
          <c:bubbleSize>
            <c:numRef>
              <c:f>Sheet1!$C$2:$C$7</c:f>
              <c:numCache>
                <c:formatCode>General</c:formatCode>
                <c:ptCount val="6"/>
                <c:pt idx="0">
                  <c:v>22557022</c:v>
                </c:pt>
                <c:pt idx="1">
                  <c:v>19313906</c:v>
                </c:pt>
                <c:pt idx="2">
                  <c:v>16396938</c:v>
                </c:pt>
                <c:pt idx="3">
                  <c:v>10594194</c:v>
                </c:pt>
                <c:pt idx="4">
                  <c:v>5799659</c:v>
                </c:pt>
                <c:pt idx="5">
                  <c:v>1522946</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3F30331-D8DF-48A6-96A7-4E7F86BDD5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8C7045-C988-4C7F-822A-1EB9EB2B7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7A2882B-A8DB-4F57-9F0F-6461DA768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A3EFF1-EBC4-4801-8838-048999B2A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EA28BB-C90F-4A29-A72E-1BD3FC455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647FFF-9997-45DB-B763-59A30FF90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5EA54A-D156-4399-9C8F-FA3848A80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7870B3-A033-4985-99AF-9940586CF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06999999999999</c:v>
                </c:pt>
                <c:pt idx="1">
                  <c:v>2.5705</c:v>
                </c:pt>
                <c:pt idx="2">
                  <c:v>2.8330000000000002</c:v>
                </c:pt>
                <c:pt idx="3">
                  <c:v>3.2755999999999998</c:v>
                </c:pt>
                <c:pt idx="4">
                  <c:v>2.9988999999999999</c:v>
                </c:pt>
                <c:pt idx="5">
                  <c:v>3.1339999999999999</c:v>
                </c:pt>
                <c:pt idx="6">
                  <c:v>2.9653</c:v>
                </c:pt>
                <c:pt idx="7">
                  <c:v>2.5188000000000001</c:v>
                </c:pt>
              </c:numCache>
            </c:numRef>
          </c:xVal>
          <c:yVal>
            <c:numRef>
              <c:f>Sheet1!$B$2:$B$9</c:f>
              <c:numCache>
                <c:formatCode>General</c:formatCode>
                <c:ptCount val="8"/>
                <c:pt idx="0">
                  <c:v>0.88300000000000001</c:v>
                </c:pt>
                <c:pt idx="1">
                  <c:v>0.82199999999999995</c:v>
                </c:pt>
                <c:pt idx="2">
                  <c:v>1.0469999999999999</c:v>
                </c:pt>
                <c:pt idx="3">
                  <c:v>1.113</c:v>
                </c:pt>
                <c:pt idx="4">
                  <c:v>1.1220000000000001</c:v>
                </c:pt>
                <c:pt idx="5">
                  <c:v>0.77400000000000002</c:v>
                </c:pt>
                <c:pt idx="6">
                  <c:v>1.0089999999999999</c:v>
                </c:pt>
                <c:pt idx="7">
                  <c:v>1.4139999999999999</c:v>
                </c:pt>
              </c:numCache>
            </c:numRef>
          </c:yVal>
          <c:bubbleSize>
            <c:numRef>
              <c:f>Sheet1!$C$2:$C$9</c:f>
              <c:numCache>
                <c:formatCode>General</c:formatCode>
                <c:ptCount val="8"/>
                <c:pt idx="0">
                  <c:v>498218809</c:v>
                </c:pt>
                <c:pt idx="1">
                  <c:v>67782408</c:v>
                </c:pt>
                <c:pt idx="2">
                  <c:v>36346839</c:v>
                </c:pt>
                <c:pt idx="3">
                  <c:v>32529804</c:v>
                </c:pt>
                <c:pt idx="4">
                  <c:v>32178133</c:v>
                </c:pt>
                <c:pt idx="5">
                  <c:v>32133765</c:v>
                </c:pt>
                <c:pt idx="6">
                  <c:v>22816387</c:v>
                </c:pt>
                <c:pt idx="7">
                  <c:v>1958103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70B3B4E-AA97-45A8-B5A6-9B4CFFBC2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943D2E96-1DE9-4643-8E4D-FAC75E588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26F7E81-11F9-44E9-9FE4-7AFB494C0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846541D-7BF8-4258-A863-87BACF9390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A6D5028-1E6A-4EE3-BC61-0DCA3E95C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F3B2B27-72A1-471A-8FE0-E1532C0F06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48DDDA0-B4BA-4DF4-94CC-90C2BF188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835A393-ED6F-4956-920C-574E9D523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500999999999999</c:v>
                </c:pt>
                <c:pt idx="1">
                  <c:v>1.4523999999999999</c:v>
                </c:pt>
                <c:pt idx="2">
                  <c:v>2.4236</c:v>
                </c:pt>
                <c:pt idx="3">
                  <c:v>2.4525000000000001</c:v>
                </c:pt>
                <c:pt idx="4">
                  <c:v>2.3136999999999999</c:v>
                </c:pt>
                <c:pt idx="5">
                  <c:v>2.4967000000000001</c:v>
                </c:pt>
                <c:pt idx="6">
                  <c:v>2.4449999999999998</c:v>
                </c:pt>
                <c:pt idx="7">
                  <c:v>2.4443000000000001</c:v>
                </c:pt>
              </c:numCache>
            </c:numRef>
          </c:xVal>
          <c:yVal>
            <c:numRef>
              <c:f>Sheet1!$B$2:$B$9</c:f>
              <c:numCache>
                <c:formatCode>General</c:formatCode>
                <c:ptCount val="8"/>
                <c:pt idx="0">
                  <c:v>1.0820000000000001</c:v>
                </c:pt>
                <c:pt idx="1">
                  <c:v>0.67800000000000005</c:v>
                </c:pt>
                <c:pt idx="2">
                  <c:v>1.276</c:v>
                </c:pt>
                <c:pt idx="3">
                  <c:v>0.97599999999999998</c:v>
                </c:pt>
                <c:pt idx="4">
                  <c:v>1.087</c:v>
                </c:pt>
                <c:pt idx="5">
                  <c:v>1.0640000000000001</c:v>
                </c:pt>
                <c:pt idx="6">
                  <c:v>0.96699999999999997</c:v>
                </c:pt>
                <c:pt idx="7">
                  <c:v>1.5169999999999999</c:v>
                </c:pt>
              </c:numCache>
            </c:numRef>
          </c:yVal>
          <c:bubbleSize>
            <c:numRef>
              <c:f>Sheet1!$C$2:$C$9</c:f>
              <c:numCache>
                <c:formatCode>General</c:formatCode>
                <c:ptCount val="8"/>
                <c:pt idx="0">
                  <c:v>30253337</c:v>
                </c:pt>
                <c:pt idx="1">
                  <c:v>14481315</c:v>
                </c:pt>
                <c:pt idx="2">
                  <c:v>14007524</c:v>
                </c:pt>
                <c:pt idx="3">
                  <c:v>12109563</c:v>
                </c:pt>
                <c:pt idx="4">
                  <c:v>11825696</c:v>
                </c:pt>
                <c:pt idx="5">
                  <c:v>5828870</c:v>
                </c:pt>
                <c:pt idx="6">
                  <c:v>3949392</c:v>
                </c:pt>
                <c:pt idx="7">
                  <c:v>802773</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Boursin</c:v>
                  </c:pt>
                  <c:pt idx="3">
                    <c:v>Paysan Breton</c:v>
                  </c:pt>
                  <c:pt idx="4">
                    <c:v>Tartare</c:v>
                  </c:pt>
                  <c:pt idx="5">
                    <c:v>Carre Frais</c:v>
                  </c:pt>
                  <c:pt idx="6">
                    <c:v>Philadelphia</c:v>
                  </c:pt>
                  <c:pt idx="7">
                    <c:v>Kir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DF0CCCA-4C09-454B-AFC0-AB7E22BBA7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7AC012D-6830-443B-B4F3-BFA6827042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6B3D019-CA12-4E8F-881A-0638CFB7C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0394E19-0544-42FB-9C2A-78A1F2755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E1498DF-6E2D-4CD1-8A16-024D6668A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35239A81-849E-4BCB-A46C-1C8AFFE41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7B13E54D-453D-4DA1-9D2F-2448ACEC2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96589E3B-8E78-455C-89B0-859522F26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8496999999999999</c:v>
                </c:pt>
                <c:pt idx="1">
                  <c:v>2.2946</c:v>
                </c:pt>
                <c:pt idx="2">
                  <c:v>2.9693999999999998</c:v>
                </c:pt>
                <c:pt idx="3">
                  <c:v>2.3797000000000001</c:v>
                </c:pt>
                <c:pt idx="4">
                  <c:v>2.8961999999999999</c:v>
                </c:pt>
                <c:pt idx="5">
                  <c:v>2.3374000000000001</c:v>
                </c:pt>
              </c:numCache>
            </c:numRef>
          </c:xVal>
          <c:yVal>
            <c:numRef>
              <c:f>Sheet1!$B$2:$B$7</c:f>
              <c:numCache>
                <c:formatCode>General</c:formatCode>
                <c:ptCount val="6"/>
                <c:pt idx="0">
                  <c:v>0.89100000000000001</c:v>
                </c:pt>
                <c:pt idx="1">
                  <c:v>1.087</c:v>
                </c:pt>
                <c:pt idx="2">
                  <c:v>1.121</c:v>
                </c:pt>
                <c:pt idx="3">
                  <c:v>1.2410000000000001</c:v>
                </c:pt>
                <c:pt idx="4">
                  <c:v>1.6279999999999999</c:v>
                </c:pt>
                <c:pt idx="5">
                  <c:v>1.645</c:v>
                </c:pt>
              </c:numCache>
            </c:numRef>
          </c:yVal>
          <c:bubbleSize>
            <c:numRef>
              <c:f>Sheet1!$C$2:$C$7</c:f>
              <c:numCache>
                <c:formatCode>General</c:formatCode>
                <c:ptCount val="6"/>
                <c:pt idx="0">
                  <c:v>70217825</c:v>
                </c:pt>
                <c:pt idx="1">
                  <c:v>23364293</c:v>
                </c:pt>
                <c:pt idx="2">
                  <c:v>10441025</c:v>
                </c:pt>
                <c:pt idx="3">
                  <c:v>7314596</c:v>
                </c:pt>
                <c:pt idx="4">
                  <c:v>2904193</c:v>
                </c:pt>
                <c:pt idx="5">
                  <c:v>1794318</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7075D9-054C-4FC7-9193-1DE2C27CE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F879F4-2027-4B22-9725-89DA27DC7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31F0C6-5796-4337-BC69-CBC5EB3B6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A9449E-7068-4436-9690-0B487ACC50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FCD6059-565B-4D04-99C8-44B5D7098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D3B371-326A-427C-9630-0D032711B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C0D7A11-485A-48DE-88EF-555ABCB1B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792E11-CC9D-40F0-8C85-51A79940B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707999999999999</c:v>
                </c:pt>
                <c:pt idx="1">
                  <c:v>2.5295000000000001</c:v>
                </c:pt>
                <c:pt idx="2">
                  <c:v>2.7004000000000001</c:v>
                </c:pt>
                <c:pt idx="3">
                  <c:v>2.8982999999999999</c:v>
                </c:pt>
                <c:pt idx="4">
                  <c:v>3.3340999999999998</c:v>
                </c:pt>
                <c:pt idx="5">
                  <c:v>3.1894</c:v>
                </c:pt>
                <c:pt idx="6">
                  <c:v>2.9792000000000001</c:v>
                </c:pt>
                <c:pt idx="7">
                  <c:v>2.4716999999999998</c:v>
                </c:pt>
              </c:numCache>
            </c:numRef>
          </c:xVal>
          <c:yVal>
            <c:numRef>
              <c:f>Sheet1!$B$2:$B$9</c:f>
              <c:numCache>
                <c:formatCode>General</c:formatCode>
                <c:ptCount val="8"/>
                <c:pt idx="0">
                  <c:v>0.86599999999999999</c:v>
                </c:pt>
                <c:pt idx="1">
                  <c:v>0.88500000000000001</c:v>
                </c:pt>
                <c:pt idx="2">
                  <c:v>1.0760000000000001</c:v>
                </c:pt>
                <c:pt idx="3">
                  <c:v>1.1339999999999999</c:v>
                </c:pt>
                <c:pt idx="4">
                  <c:v>1.2909999999999999</c:v>
                </c:pt>
                <c:pt idx="5">
                  <c:v>0.89</c:v>
                </c:pt>
                <c:pt idx="6">
                  <c:v>1.1259999999999999</c:v>
                </c:pt>
                <c:pt idx="7">
                  <c:v>1.4450000000000001</c:v>
                </c:pt>
              </c:numCache>
            </c:numRef>
          </c:yVal>
          <c:bubbleSize>
            <c:numRef>
              <c:f>Sheet1!$C$2:$C$9</c:f>
              <c:numCache>
                <c:formatCode>General</c:formatCode>
                <c:ptCount val="8"/>
                <c:pt idx="0">
                  <c:v>3555101229</c:v>
                </c:pt>
                <c:pt idx="1">
                  <c:v>441401234</c:v>
                </c:pt>
                <c:pt idx="2">
                  <c:v>212784778</c:v>
                </c:pt>
                <c:pt idx="3">
                  <c:v>198815524</c:v>
                </c:pt>
                <c:pt idx="4">
                  <c:v>194491569</c:v>
                </c:pt>
                <c:pt idx="5">
                  <c:v>149020607</c:v>
                </c:pt>
                <c:pt idx="6">
                  <c:v>115028964</c:v>
                </c:pt>
                <c:pt idx="7">
                  <c:v>10297069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Entremon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3C00FD-27F4-4607-AFC1-FE2004C59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E49A37-E952-4B08-AF1D-B76681E81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A53CE8-B982-4FE4-878D-97AB5AA5AA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64DFD74-0F2B-4E70-BC91-180B77E52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01A8EFF-D206-44E9-9265-124C49FAD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F21C31-3BD6-4B41-AF4D-44A9366E4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870AB3-5706-4DF0-A4C5-49C871150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EC1D32-1328-4DE5-9129-39DA61AEE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06999999999999</c:v>
                </c:pt>
                <c:pt idx="1">
                  <c:v>2.5705</c:v>
                </c:pt>
                <c:pt idx="2">
                  <c:v>2.8330000000000002</c:v>
                </c:pt>
                <c:pt idx="3">
                  <c:v>3.2755999999999998</c:v>
                </c:pt>
                <c:pt idx="4">
                  <c:v>2.9988999999999999</c:v>
                </c:pt>
                <c:pt idx="5">
                  <c:v>3.1339999999999999</c:v>
                </c:pt>
                <c:pt idx="6">
                  <c:v>2.9653</c:v>
                </c:pt>
                <c:pt idx="7">
                  <c:v>2.5188000000000001</c:v>
                </c:pt>
              </c:numCache>
            </c:numRef>
          </c:xVal>
          <c:yVal>
            <c:numRef>
              <c:f>Sheet1!$B$2:$B$9</c:f>
              <c:numCache>
                <c:formatCode>General</c:formatCode>
                <c:ptCount val="8"/>
                <c:pt idx="0">
                  <c:v>0.88300000000000001</c:v>
                </c:pt>
                <c:pt idx="1">
                  <c:v>0.82199999999999995</c:v>
                </c:pt>
                <c:pt idx="2">
                  <c:v>1.0469999999999999</c:v>
                </c:pt>
                <c:pt idx="3">
                  <c:v>1.113</c:v>
                </c:pt>
                <c:pt idx="4">
                  <c:v>1.1220000000000001</c:v>
                </c:pt>
                <c:pt idx="5">
                  <c:v>0.77400000000000002</c:v>
                </c:pt>
                <c:pt idx="6">
                  <c:v>1.0089999999999999</c:v>
                </c:pt>
                <c:pt idx="7">
                  <c:v>1.4139999999999999</c:v>
                </c:pt>
              </c:numCache>
            </c:numRef>
          </c:yVal>
          <c:bubbleSize>
            <c:numRef>
              <c:f>Sheet1!$C$2:$C$9</c:f>
              <c:numCache>
                <c:formatCode>General</c:formatCode>
                <c:ptCount val="8"/>
                <c:pt idx="0">
                  <c:v>498218809</c:v>
                </c:pt>
                <c:pt idx="1">
                  <c:v>67782408</c:v>
                </c:pt>
                <c:pt idx="2">
                  <c:v>36346839</c:v>
                </c:pt>
                <c:pt idx="3">
                  <c:v>32529804</c:v>
                </c:pt>
                <c:pt idx="4">
                  <c:v>32178133</c:v>
                </c:pt>
                <c:pt idx="5">
                  <c:v>32133765</c:v>
                </c:pt>
                <c:pt idx="6">
                  <c:v>22816387</c:v>
                </c:pt>
                <c:pt idx="7">
                  <c:v>1958103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86A298-1865-477F-B32D-407D1DD39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7C6FD9-5A13-4003-A24A-66F68CA0C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FF689C-7367-4F0B-BC8B-1D2724AF3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CE34B9-D53E-405F-8AE4-EBAE5289D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AD4A26-2417-47F2-A9C1-E4E0346C0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F4EBDEA-B895-4885-BB69-9C0B4020E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8C0713-DFD2-4176-B2F9-E1D363197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D1C191-761E-4231-AF8C-278A550EC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894999999999999</c:v>
                </c:pt>
                <c:pt idx="1">
                  <c:v>2.6318000000000001</c:v>
                </c:pt>
                <c:pt idx="2">
                  <c:v>3.3193999999999999</c:v>
                </c:pt>
                <c:pt idx="3">
                  <c:v>2.7353999999999998</c:v>
                </c:pt>
                <c:pt idx="4">
                  <c:v>2.9201000000000001</c:v>
                </c:pt>
                <c:pt idx="5">
                  <c:v>3.3643999999999998</c:v>
                </c:pt>
                <c:pt idx="6">
                  <c:v>2.5703</c:v>
                </c:pt>
                <c:pt idx="7">
                  <c:v>3.0628000000000002</c:v>
                </c:pt>
              </c:numCache>
            </c:numRef>
          </c:xVal>
          <c:yVal>
            <c:numRef>
              <c:f>Sheet1!$B$2:$B$9</c:f>
              <c:numCache>
                <c:formatCode>General</c:formatCode>
                <c:ptCount val="8"/>
                <c:pt idx="0">
                  <c:v>0.85199999999999998</c:v>
                </c:pt>
                <c:pt idx="1">
                  <c:v>0.93500000000000005</c:v>
                </c:pt>
                <c:pt idx="2">
                  <c:v>1.323</c:v>
                </c:pt>
                <c:pt idx="3">
                  <c:v>1.1140000000000001</c:v>
                </c:pt>
                <c:pt idx="4">
                  <c:v>1.1599999999999999</c:v>
                </c:pt>
                <c:pt idx="5">
                  <c:v>0.95199999999999996</c:v>
                </c:pt>
                <c:pt idx="6">
                  <c:v>1.494</c:v>
                </c:pt>
                <c:pt idx="7">
                  <c:v>1.1910000000000001</c:v>
                </c:pt>
              </c:numCache>
            </c:numRef>
          </c:yVal>
          <c:bubbleSize>
            <c:numRef>
              <c:f>Sheet1!$C$2:$C$9</c:f>
              <c:numCache>
                <c:formatCode>General</c:formatCode>
                <c:ptCount val="8"/>
                <c:pt idx="0">
                  <c:v>635650528</c:v>
                </c:pt>
                <c:pt idx="1">
                  <c:v>107531355</c:v>
                </c:pt>
                <c:pt idx="2">
                  <c:v>66381257</c:v>
                </c:pt>
                <c:pt idx="3">
                  <c:v>36240606</c:v>
                </c:pt>
                <c:pt idx="4">
                  <c:v>32921870</c:v>
                </c:pt>
                <c:pt idx="5">
                  <c:v>22558077</c:v>
                </c:pt>
                <c:pt idx="6">
                  <c:v>20786606</c:v>
                </c:pt>
                <c:pt idx="7">
                  <c:v>17199711</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Entremont</c:v>
                  </c:pt>
                  <c:pt idx="3">
                    <c:v>Soignon</c:v>
                  </c:pt>
                  <c:pt idx="4">
                    <c:v>St Moret</c:v>
                  </c:pt>
                  <c:pt idx="5">
                    <c:v>La Vache Qui Rit</c:v>
                  </c:pt>
                  <c:pt idx="6">
                    <c:v>Boursin</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A73953-2C39-4ABE-8F11-CA44E2EE8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D31082-2951-4103-B4B5-D983857A4D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288ADF-9084-424B-9A6D-A1EB66F71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2FE8809-A733-411A-9149-64420F64E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73584D-7F53-4105-B6ED-13FD8F40F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7C991DE-77F6-414F-AE7B-FB2B6B8126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C9A043-EC4B-495A-B7C4-5EBC80800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B179D5-5F2B-445B-B48F-F7B22F0E5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87</c:v>
                </c:pt>
                <c:pt idx="1">
                  <c:v>2.2827999999999999</c:v>
                </c:pt>
                <c:pt idx="2">
                  <c:v>2.7042000000000002</c:v>
                </c:pt>
                <c:pt idx="3">
                  <c:v>2.9156</c:v>
                </c:pt>
                <c:pt idx="4">
                  <c:v>3.2122000000000002</c:v>
                </c:pt>
                <c:pt idx="5">
                  <c:v>3.2845</c:v>
                </c:pt>
                <c:pt idx="6">
                  <c:v>2.9792000000000001</c:v>
                </c:pt>
                <c:pt idx="7">
                  <c:v>2.3307000000000002</c:v>
                </c:pt>
              </c:numCache>
            </c:numRef>
          </c:xVal>
          <c:yVal>
            <c:numRef>
              <c:f>Sheet1!$B$2:$B$9</c:f>
              <c:numCache>
                <c:formatCode>General</c:formatCode>
                <c:ptCount val="8"/>
                <c:pt idx="0">
                  <c:v>0.85499999999999998</c:v>
                </c:pt>
                <c:pt idx="1">
                  <c:v>0.82199999999999995</c:v>
                </c:pt>
                <c:pt idx="2">
                  <c:v>1.0820000000000001</c:v>
                </c:pt>
                <c:pt idx="3">
                  <c:v>1.1399999999999999</c:v>
                </c:pt>
                <c:pt idx="4">
                  <c:v>1.1879999999999999</c:v>
                </c:pt>
                <c:pt idx="5">
                  <c:v>0.92500000000000004</c:v>
                </c:pt>
                <c:pt idx="6">
                  <c:v>1.1619999999999999</c:v>
                </c:pt>
                <c:pt idx="7">
                  <c:v>1.3620000000000001</c:v>
                </c:pt>
              </c:numCache>
            </c:numRef>
          </c:yVal>
          <c:bubbleSize>
            <c:numRef>
              <c:f>Sheet1!$C$2:$C$9</c:f>
              <c:numCache>
                <c:formatCode>General</c:formatCode>
                <c:ptCount val="8"/>
                <c:pt idx="0">
                  <c:v>1760863092</c:v>
                </c:pt>
                <c:pt idx="1">
                  <c:v>230947562</c:v>
                </c:pt>
                <c:pt idx="2">
                  <c:v>200738299</c:v>
                </c:pt>
                <c:pt idx="3">
                  <c:v>188621011</c:v>
                </c:pt>
                <c:pt idx="4">
                  <c:v>187705593</c:v>
                </c:pt>
                <c:pt idx="5">
                  <c:v>143118988</c:v>
                </c:pt>
                <c:pt idx="6">
                  <c:v>115028964</c:v>
                </c:pt>
                <c:pt idx="7">
                  <c:v>8176367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9F102A-D934-4126-BB1D-EBCE832B2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04F856-422A-4E03-8D2E-C97AD32AA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967E237-C9A9-491C-96A0-7F75CA953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C354D6-05B1-464C-8C90-4D461E170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950795-C517-4CC0-98C7-D45D49627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BE2BEB-5245-418F-9E0A-F65BB8289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1A7F20-F507-4F41-9811-2BB13B5BA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7927333-2B17-466F-86AD-0036A7F79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9</c:v>
                </c:pt>
                <c:pt idx="1">
                  <c:v>2.3527999999999998</c:v>
                </c:pt>
                <c:pt idx="2">
                  <c:v>2.8315000000000001</c:v>
                </c:pt>
                <c:pt idx="3">
                  <c:v>3.2755999999999998</c:v>
                </c:pt>
                <c:pt idx="4">
                  <c:v>3.0144000000000002</c:v>
                </c:pt>
                <c:pt idx="5">
                  <c:v>3.2692000000000001</c:v>
                </c:pt>
                <c:pt idx="6">
                  <c:v>2.9653</c:v>
                </c:pt>
                <c:pt idx="7">
                  <c:v>2.3641999999999999</c:v>
                </c:pt>
              </c:numCache>
            </c:numRef>
          </c:xVal>
          <c:yVal>
            <c:numRef>
              <c:f>Sheet1!$B$2:$B$9</c:f>
              <c:numCache>
                <c:formatCode>General</c:formatCode>
                <c:ptCount val="8"/>
                <c:pt idx="0">
                  <c:v>0.88500000000000001</c:v>
                </c:pt>
                <c:pt idx="1">
                  <c:v>0.77700000000000002</c:v>
                </c:pt>
                <c:pt idx="2">
                  <c:v>1.0529999999999999</c:v>
                </c:pt>
                <c:pt idx="3">
                  <c:v>1.1479999999999999</c:v>
                </c:pt>
                <c:pt idx="4">
                  <c:v>1.137</c:v>
                </c:pt>
                <c:pt idx="5">
                  <c:v>0.80200000000000005</c:v>
                </c:pt>
                <c:pt idx="6">
                  <c:v>1.04</c:v>
                </c:pt>
                <c:pt idx="7">
                  <c:v>1.3220000000000001</c:v>
                </c:pt>
              </c:numCache>
            </c:numRef>
          </c:yVal>
          <c:bubbleSize>
            <c:numRef>
              <c:f>Sheet1!$C$2:$C$9</c:f>
              <c:numCache>
                <c:formatCode>General</c:formatCode>
                <c:ptCount val="8"/>
                <c:pt idx="0">
                  <c:v>263392264</c:v>
                </c:pt>
                <c:pt idx="1">
                  <c:v>39509333</c:v>
                </c:pt>
                <c:pt idx="2">
                  <c:v>34407631</c:v>
                </c:pt>
                <c:pt idx="3">
                  <c:v>32529804</c:v>
                </c:pt>
                <c:pt idx="4">
                  <c:v>30956719</c:v>
                </c:pt>
                <c:pt idx="5">
                  <c:v>30468388</c:v>
                </c:pt>
                <c:pt idx="6">
                  <c:v>22816387</c:v>
                </c:pt>
                <c:pt idx="7">
                  <c:v>1540549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ED89D5-7854-4D2F-A8F7-2F883D378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2C437A6-3BB4-4F1A-8121-21C0E5A2A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895468-4D4E-4019-90A9-E0069343B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0572E21-621B-4C65-A880-46898B228E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C41C50-0445-4D8A-9A3F-B97421C04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C335BEF-284B-4DAF-9C15-6E1045700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062AB1-6296-47B0-9359-FC738CEC1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F98E59-B748-4AA9-AC9F-1DF268D03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06999999999999</c:v>
                </c:pt>
                <c:pt idx="1">
                  <c:v>2.3565</c:v>
                </c:pt>
                <c:pt idx="2">
                  <c:v>2.7509000000000001</c:v>
                </c:pt>
                <c:pt idx="3">
                  <c:v>2.9500999999999999</c:v>
                </c:pt>
                <c:pt idx="4">
                  <c:v>3.3361999999999998</c:v>
                </c:pt>
                <c:pt idx="5">
                  <c:v>3.3645999999999998</c:v>
                </c:pt>
                <c:pt idx="6">
                  <c:v>3.0628000000000002</c:v>
                </c:pt>
                <c:pt idx="7">
                  <c:v>2.4135</c:v>
                </c:pt>
              </c:numCache>
            </c:numRef>
          </c:xVal>
          <c:yVal>
            <c:numRef>
              <c:f>Sheet1!$B$2:$B$9</c:f>
              <c:numCache>
                <c:formatCode>General</c:formatCode>
                <c:ptCount val="8"/>
                <c:pt idx="0">
                  <c:v>0.83699999999999997</c:v>
                </c:pt>
                <c:pt idx="1">
                  <c:v>0.83899999999999997</c:v>
                </c:pt>
                <c:pt idx="2">
                  <c:v>1.0860000000000001</c:v>
                </c:pt>
                <c:pt idx="3">
                  <c:v>1.1259999999999999</c:v>
                </c:pt>
                <c:pt idx="4">
                  <c:v>1.2210000000000001</c:v>
                </c:pt>
                <c:pt idx="5">
                  <c:v>0.96499999999999997</c:v>
                </c:pt>
                <c:pt idx="6">
                  <c:v>1.2070000000000001</c:v>
                </c:pt>
                <c:pt idx="7">
                  <c:v>1.365</c:v>
                </c:pt>
              </c:numCache>
            </c:numRef>
          </c:yVal>
          <c:bubbleSize>
            <c:numRef>
              <c:f>Sheet1!$C$2:$C$9</c:f>
              <c:numCache>
                <c:formatCode>General</c:formatCode>
                <c:ptCount val="8"/>
                <c:pt idx="0">
                  <c:v>189926117</c:v>
                </c:pt>
                <c:pt idx="1">
                  <c:v>39277810</c:v>
                </c:pt>
                <c:pt idx="2">
                  <c:v>33117229</c:v>
                </c:pt>
                <c:pt idx="3">
                  <c:v>30253337</c:v>
                </c:pt>
                <c:pt idx="4">
                  <c:v>29411346</c:v>
                </c:pt>
                <c:pt idx="5">
                  <c:v>22557022</c:v>
                </c:pt>
                <c:pt idx="6">
                  <c:v>17199711</c:v>
                </c:pt>
                <c:pt idx="7">
                  <c:v>15801842</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B3F141-3961-414E-BC59-5245BC293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7FD209-EACA-4F91-B792-93D04BBB4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4D4286-5C27-4C4E-8CA6-939BEC330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8ECE808-676D-4B4F-97A7-F77233811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2E9D17-415D-4C0A-A76E-A522F05A68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97B7BB-9717-4DE4-A92D-3E0B70F66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31F5EC7-52C1-4B3A-834F-32394ABA8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26FC878-549F-49E9-A24C-91CD1415A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6396999999999999</c:v>
                </c:pt>
                <c:pt idx="1">
                  <c:v>2.0247000000000002</c:v>
                </c:pt>
                <c:pt idx="2">
                  <c:v>3.3784000000000001</c:v>
                </c:pt>
                <c:pt idx="3">
                  <c:v>2.8138999999999998</c:v>
                </c:pt>
                <c:pt idx="4">
                  <c:v>2.6101999999999999</c:v>
                </c:pt>
                <c:pt idx="5">
                  <c:v>5.2855999999999996</c:v>
                </c:pt>
              </c:numCache>
            </c:numRef>
          </c:xVal>
          <c:yVal>
            <c:numRef>
              <c:f>Sheet1!$B$2:$B$7</c:f>
              <c:numCache>
                <c:formatCode>General</c:formatCode>
                <c:ptCount val="6"/>
                <c:pt idx="0">
                  <c:v>0.873</c:v>
                </c:pt>
                <c:pt idx="1">
                  <c:v>1.04</c:v>
                </c:pt>
                <c:pt idx="2">
                  <c:v>1.736</c:v>
                </c:pt>
                <c:pt idx="3">
                  <c:v>1.34</c:v>
                </c:pt>
                <c:pt idx="4">
                  <c:v>1.341</c:v>
                </c:pt>
                <c:pt idx="5">
                  <c:v>1.528</c:v>
                </c:pt>
              </c:numCache>
            </c:numRef>
          </c:yVal>
          <c:bubbleSize>
            <c:numRef>
              <c:f>Sheet1!$C$2:$C$7</c:f>
              <c:numCache>
                <c:formatCode>General</c:formatCode>
                <c:ptCount val="6"/>
                <c:pt idx="0">
                  <c:v>127145345</c:v>
                </c:pt>
                <c:pt idx="1">
                  <c:v>30565706</c:v>
                </c:pt>
                <c:pt idx="2">
                  <c:v>18356742</c:v>
                </c:pt>
                <c:pt idx="3">
                  <c:v>14160014</c:v>
                </c:pt>
                <c:pt idx="4">
                  <c:v>10194513</c:v>
                </c:pt>
                <c:pt idx="5">
                  <c:v>215675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43B813-65FD-4341-BF39-61245F584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25AD83-4D54-4B6F-96C4-4DCA33114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A194D9A-BACA-4BB2-BFD0-ACA802CF4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DDF9CF-9323-474F-ABE5-286E96761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BD3683-93B2-4A38-A22A-6704662F1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F0613A-BE5C-4279-A343-9AE23477C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FADD579-B775-45C7-B173-023EF1023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A31FC35-12D1-4701-A48E-42B732DEE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854999999999999</c:v>
                </c:pt>
                <c:pt idx="1">
                  <c:v>2.1145</c:v>
                </c:pt>
                <c:pt idx="2">
                  <c:v>3.4693000000000001</c:v>
                </c:pt>
                <c:pt idx="3">
                  <c:v>3.0528</c:v>
                </c:pt>
                <c:pt idx="4">
                  <c:v>2.6516999999999999</c:v>
                </c:pt>
                <c:pt idx="5">
                  <c:v>5.1757</c:v>
                </c:pt>
              </c:numCache>
            </c:numRef>
          </c:xVal>
          <c:yVal>
            <c:numRef>
              <c:f>Sheet1!$B$2:$B$7</c:f>
              <c:numCache>
                <c:formatCode>General</c:formatCode>
                <c:ptCount val="6"/>
                <c:pt idx="0">
                  <c:v>0.876</c:v>
                </c:pt>
                <c:pt idx="1">
                  <c:v>1.0249999999999999</c:v>
                </c:pt>
                <c:pt idx="2">
                  <c:v>1.6819999999999999</c:v>
                </c:pt>
                <c:pt idx="3">
                  <c:v>1.4810000000000001</c:v>
                </c:pt>
                <c:pt idx="4">
                  <c:v>1.2889999999999999</c:v>
                </c:pt>
                <c:pt idx="5">
                  <c:v>1.597</c:v>
                </c:pt>
              </c:numCache>
            </c:numRef>
          </c:yVal>
          <c:bubbleSize>
            <c:numRef>
              <c:f>Sheet1!$C$2:$C$7</c:f>
              <c:numCache>
                <c:formatCode>General</c:formatCode>
                <c:ptCount val="6"/>
                <c:pt idx="0">
                  <c:v>23637907</c:v>
                </c:pt>
                <c:pt idx="1">
                  <c:v>5715349</c:v>
                </c:pt>
                <c:pt idx="2">
                  <c:v>3679581</c:v>
                </c:pt>
                <c:pt idx="3">
                  <c:v>2136150</c:v>
                </c:pt>
                <c:pt idx="4">
                  <c:v>1221414</c:v>
                </c:pt>
                <c:pt idx="5">
                  <c:v>535470</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691C8E-6A9C-41AE-82BF-541278083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5E38F4-4129-46E7-B810-62C76D55A6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DFA9288-55DE-4761-B0B5-8A76A0268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5B7D5A-94E6-40A6-BCBA-AED58F474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1F3CA65-F41F-42AA-A750-7559716A85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50E72F-03D9-4452-95B8-B5988461B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556CD6-7AFE-4F33-9A78-C4E4021F2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575EC0-4618-4377-B660-0259965CB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894999999999999</c:v>
                </c:pt>
                <c:pt idx="1">
                  <c:v>2.6318000000000001</c:v>
                </c:pt>
                <c:pt idx="2">
                  <c:v>3.3193999999999999</c:v>
                </c:pt>
                <c:pt idx="3">
                  <c:v>2.7353999999999998</c:v>
                </c:pt>
                <c:pt idx="4">
                  <c:v>2.9201000000000001</c:v>
                </c:pt>
                <c:pt idx="5">
                  <c:v>3.3643999999999998</c:v>
                </c:pt>
                <c:pt idx="6">
                  <c:v>2.5703</c:v>
                </c:pt>
                <c:pt idx="7">
                  <c:v>3.0628000000000002</c:v>
                </c:pt>
              </c:numCache>
            </c:numRef>
          </c:xVal>
          <c:yVal>
            <c:numRef>
              <c:f>Sheet1!$B$2:$B$9</c:f>
              <c:numCache>
                <c:formatCode>General</c:formatCode>
                <c:ptCount val="8"/>
                <c:pt idx="0">
                  <c:v>0.85199999999999998</c:v>
                </c:pt>
                <c:pt idx="1">
                  <c:v>0.93500000000000005</c:v>
                </c:pt>
                <c:pt idx="2">
                  <c:v>1.323</c:v>
                </c:pt>
                <c:pt idx="3">
                  <c:v>1.1140000000000001</c:v>
                </c:pt>
                <c:pt idx="4">
                  <c:v>1.1599999999999999</c:v>
                </c:pt>
                <c:pt idx="5">
                  <c:v>0.95199999999999996</c:v>
                </c:pt>
                <c:pt idx="6">
                  <c:v>1.494</c:v>
                </c:pt>
                <c:pt idx="7">
                  <c:v>1.1910000000000001</c:v>
                </c:pt>
              </c:numCache>
            </c:numRef>
          </c:yVal>
          <c:bubbleSize>
            <c:numRef>
              <c:f>Sheet1!$C$2:$C$9</c:f>
              <c:numCache>
                <c:formatCode>General</c:formatCode>
                <c:ptCount val="8"/>
                <c:pt idx="0">
                  <c:v>635650528</c:v>
                </c:pt>
                <c:pt idx="1">
                  <c:v>107531355</c:v>
                </c:pt>
                <c:pt idx="2">
                  <c:v>66381257</c:v>
                </c:pt>
                <c:pt idx="3">
                  <c:v>36240606</c:v>
                </c:pt>
                <c:pt idx="4">
                  <c:v>32921870</c:v>
                </c:pt>
                <c:pt idx="5">
                  <c:v>22558077</c:v>
                </c:pt>
                <c:pt idx="6">
                  <c:v>20786606</c:v>
                </c:pt>
                <c:pt idx="7">
                  <c:v>17199711</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Entremont</c:v>
                  </c:pt>
                  <c:pt idx="3">
                    <c:v>Soignon</c:v>
                  </c:pt>
                  <c:pt idx="4">
                    <c:v>St Moret</c:v>
                  </c:pt>
                  <c:pt idx="5">
                    <c:v>La Vache Qui Rit</c:v>
                  </c:pt>
                  <c:pt idx="6">
                    <c:v>Boursin</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1980B7-D4DB-4652-8188-BC9E6C845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F6D7DD-3BE3-4E57-A337-5C7CA93E5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73A973-6CE5-4731-A72B-01226B4B4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EC27856-297A-436E-A323-1459C8135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0037A17-E8D1-4040-A9FD-A2F1F58F4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9CA79F-DD40-4F27-BE97-5B29D024A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BF3F8D0-87F7-49A1-8A29-F969EA681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237EFE6-4CBA-4F89-B030-6CFBA7AE4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511000000000001</c:v>
                </c:pt>
                <c:pt idx="1">
                  <c:v>2.1533000000000002</c:v>
                </c:pt>
                <c:pt idx="2">
                  <c:v>3.3626999999999998</c:v>
                </c:pt>
                <c:pt idx="3">
                  <c:v>2.6185</c:v>
                </c:pt>
                <c:pt idx="4">
                  <c:v>2.5989</c:v>
                </c:pt>
                <c:pt idx="5">
                  <c:v>2.8252000000000002</c:v>
                </c:pt>
              </c:numCache>
            </c:numRef>
          </c:xVal>
          <c:yVal>
            <c:numRef>
              <c:f>Sheet1!$B$2:$B$7</c:f>
              <c:numCache>
                <c:formatCode>General</c:formatCode>
                <c:ptCount val="6"/>
                <c:pt idx="0">
                  <c:v>0.88700000000000001</c:v>
                </c:pt>
                <c:pt idx="1">
                  <c:v>1.1140000000000001</c:v>
                </c:pt>
                <c:pt idx="2">
                  <c:v>1.74</c:v>
                </c:pt>
                <c:pt idx="3">
                  <c:v>1.357</c:v>
                </c:pt>
                <c:pt idx="4">
                  <c:v>1.0129999999999999</c:v>
                </c:pt>
                <c:pt idx="5">
                  <c:v>0.81599999999999995</c:v>
                </c:pt>
              </c:numCache>
            </c:numRef>
          </c:yVal>
          <c:bubbleSize>
            <c:numRef>
              <c:f>Sheet1!$C$2:$C$7</c:f>
              <c:numCache>
                <c:formatCode>General</c:formatCode>
                <c:ptCount val="6"/>
                <c:pt idx="0">
                  <c:v>23271110</c:v>
                </c:pt>
                <c:pt idx="1">
                  <c:v>4730575</c:v>
                </c:pt>
                <c:pt idx="2">
                  <c:v>4275865</c:v>
                </c:pt>
                <c:pt idx="3">
                  <c:v>2668533</c:v>
                </c:pt>
                <c:pt idx="4">
                  <c:v>2642649</c:v>
                </c:pt>
                <c:pt idx="5">
                  <c:v>473706</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pt idx="5">
                    <c:v>Entremon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99F833-2F1E-49F3-BC0D-21186AAE6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2D4FC0-76ED-4723-8819-E55E1B957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99636F-9AA7-466A-954D-9FA15A5713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374084-E647-403C-8DF4-8492CC21E8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76FFD1B-6BEF-48E3-839A-E70E76880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E22785-09F5-45E7-B2A1-BE204510A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41E334F-F98C-42DE-97CA-AA2DE5DBCA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9BF9F8-B517-4165-89FB-E24A63435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449999999999999</c:v>
                </c:pt>
                <c:pt idx="1">
                  <c:v>2.0207000000000002</c:v>
                </c:pt>
                <c:pt idx="2">
                  <c:v>3.448</c:v>
                </c:pt>
                <c:pt idx="3">
                  <c:v>1.873</c:v>
                </c:pt>
                <c:pt idx="4">
                  <c:v>3.58</c:v>
                </c:pt>
                <c:pt idx="5">
                  <c:v>2.5432000000000001</c:v>
                </c:pt>
              </c:numCache>
            </c:numRef>
          </c:xVal>
          <c:yVal>
            <c:numRef>
              <c:f>Sheet1!$B$2:$B$7</c:f>
              <c:numCache>
                <c:formatCode>General</c:formatCode>
                <c:ptCount val="6"/>
                <c:pt idx="0">
                  <c:v>0.85899999999999999</c:v>
                </c:pt>
                <c:pt idx="1">
                  <c:v>1.1160000000000001</c:v>
                </c:pt>
                <c:pt idx="2">
                  <c:v>1.526</c:v>
                </c:pt>
                <c:pt idx="3">
                  <c:v>1.145</c:v>
                </c:pt>
                <c:pt idx="4">
                  <c:v>1.4239999999999999</c:v>
                </c:pt>
                <c:pt idx="5">
                  <c:v>1.3720000000000001</c:v>
                </c:pt>
              </c:numCache>
            </c:numRef>
          </c:yVal>
          <c:bubbleSize>
            <c:numRef>
              <c:f>Sheet1!$C$2:$C$7</c:f>
              <c:numCache>
                <c:formatCode>General</c:formatCode>
                <c:ptCount val="6"/>
                <c:pt idx="0">
                  <c:v>77248377</c:v>
                </c:pt>
                <c:pt idx="1">
                  <c:v>34203912</c:v>
                </c:pt>
                <c:pt idx="2">
                  <c:v>8572561</c:v>
                </c:pt>
                <c:pt idx="3">
                  <c:v>5901619</c:v>
                </c:pt>
                <c:pt idx="4">
                  <c:v>2984383</c:v>
                </c:pt>
                <c:pt idx="5">
                  <c:v>259271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La Vache Qui Rit</c:v>
                  </c:pt>
                  <c:pt idx="4">
                    <c:v>Raguin</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2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FF6B02-98FA-47C3-88C5-FC2235A3E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7FA410-6A8B-49D4-BB2A-9A840C2C8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298EB12-E741-4366-B213-31D79DD06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910A9B-B442-4549-A788-B04A5D1F2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C291F8-DAA0-45F9-AB07-1856E05A94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BF6F2C-5F2B-4923-B966-E94B076B0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3E9F6AA-A4BF-48AF-8EF8-6EC06036C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4520CDF-2997-43F0-B73C-AA0BCA99A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009</c:v>
                </c:pt>
                <c:pt idx="1">
                  <c:v>2.0162</c:v>
                </c:pt>
                <c:pt idx="2">
                  <c:v>1.7841</c:v>
                </c:pt>
                <c:pt idx="3">
                  <c:v>3.4218000000000002</c:v>
                </c:pt>
                <c:pt idx="4">
                  <c:v>2.6625999999999999</c:v>
                </c:pt>
                <c:pt idx="5">
                  <c:v>4.0000999999999998</c:v>
                </c:pt>
              </c:numCache>
            </c:numRef>
          </c:xVal>
          <c:yVal>
            <c:numRef>
              <c:f>Sheet1!$B$2:$B$7</c:f>
              <c:numCache>
                <c:formatCode>General</c:formatCode>
                <c:ptCount val="6"/>
                <c:pt idx="0">
                  <c:v>0.84699999999999998</c:v>
                </c:pt>
                <c:pt idx="1">
                  <c:v>1.137</c:v>
                </c:pt>
                <c:pt idx="2">
                  <c:v>1.093</c:v>
                </c:pt>
                <c:pt idx="3">
                  <c:v>1.5529999999999999</c:v>
                </c:pt>
                <c:pt idx="4">
                  <c:v>1.379</c:v>
                </c:pt>
                <c:pt idx="5">
                  <c:v>1.5629999999999999</c:v>
                </c:pt>
              </c:numCache>
            </c:numRef>
          </c:yVal>
          <c:bubbleSize>
            <c:numRef>
              <c:f>Sheet1!$C$2:$C$7</c:f>
              <c:numCache>
                <c:formatCode>General</c:formatCode>
                <c:ptCount val="6"/>
                <c:pt idx="0">
                  <c:v>8889711</c:v>
                </c:pt>
                <c:pt idx="1">
                  <c:v>4466526</c:v>
                </c:pt>
                <c:pt idx="2">
                  <c:v>1665377</c:v>
                </c:pt>
                <c:pt idx="3">
                  <c:v>826174</c:v>
                </c:pt>
                <c:pt idx="4">
                  <c:v>381075</c:v>
                </c:pt>
                <c:pt idx="5">
                  <c:v>19517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Vache Qui Rit</c:v>
                  </c:pt>
                  <c:pt idx="3">
                    <c:v>La Belle Etoile</c:v>
                  </c:pt>
                  <c:pt idx="4">
                    <c:v>Boursin</c:v>
                  </c:pt>
                  <c:pt idx="5">
                    <c:v>Ragu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6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7AF202-4318-4F72-A70C-9CFFF06F7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561043-ACE9-46F9-B6FB-207AD9B6E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BF4D31-06FA-4CBF-9AC2-A4126A203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8B3738A-418C-4606-9184-493E4BF5C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7CE838D-E360-4CAC-B296-4AB1EAB758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C934D1-DCF6-45DA-B89A-9359DAAC8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A3D7CD7-9FC8-49EE-A7B6-FC729013F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464899B-5299-4668-BC4A-78DAF90ED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062000000000001</c:v>
                </c:pt>
                <c:pt idx="1">
                  <c:v>2.0152000000000001</c:v>
                </c:pt>
                <c:pt idx="2">
                  <c:v>3.7374999999999998</c:v>
                </c:pt>
                <c:pt idx="3">
                  <c:v>3.7753000000000001</c:v>
                </c:pt>
                <c:pt idx="4">
                  <c:v>2.641</c:v>
                </c:pt>
                <c:pt idx="5">
                  <c:v>1.556</c:v>
                </c:pt>
              </c:numCache>
            </c:numRef>
          </c:xVal>
          <c:yVal>
            <c:numRef>
              <c:f>Sheet1!$B$2:$B$7</c:f>
              <c:numCache>
                <c:formatCode>General</c:formatCode>
                <c:ptCount val="6"/>
                <c:pt idx="0">
                  <c:v>0.84</c:v>
                </c:pt>
                <c:pt idx="1">
                  <c:v>1.071</c:v>
                </c:pt>
                <c:pt idx="2">
                  <c:v>1.546</c:v>
                </c:pt>
                <c:pt idx="3">
                  <c:v>1.4550000000000001</c:v>
                </c:pt>
                <c:pt idx="4">
                  <c:v>1.421</c:v>
                </c:pt>
                <c:pt idx="5">
                  <c:v>1.1060000000000001</c:v>
                </c:pt>
              </c:numCache>
            </c:numRef>
          </c:yVal>
          <c:bubbleSize>
            <c:numRef>
              <c:f>Sheet1!$C$2:$C$7</c:f>
              <c:numCache>
                <c:formatCode>General</c:formatCode>
                <c:ptCount val="6"/>
                <c:pt idx="0">
                  <c:v>16108620</c:v>
                </c:pt>
                <c:pt idx="1">
                  <c:v>12774315</c:v>
                </c:pt>
                <c:pt idx="2">
                  <c:v>2517046</c:v>
                </c:pt>
                <c:pt idx="3">
                  <c:v>1100140</c:v>
                </c:pt>
                <c:pt idx="4">
                  <c:v>708899</c:v>
                </c:pt>
                <c:pt idx="5">
                  <c:v>105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pt idx="5">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4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2FA31C-F516-4317-97FF-3AB01B15B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709949-92B4-4E00-AE25-8E8248D51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1E10B1-A1D7-45BE-8AA5-A4566FF21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80733D-4C00-42BB-A9CB-CE28B4970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D71282-D2A5-44C6-A25D-4599E4C2D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41ACE5D-E7CA-46EE-8C15-6CA3AD688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B46D326-038E-4DB0-BE71-0C4547C05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630CB44-CE48-4FC2-900E-82F1ADA90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845</c:v>
                </c:pt>
                <c:pt idx="1">
                  <c:v>3.4908000000000001</c:v>
                </c:pt>
                <c:pt idx="2">
                  <c:v>3.0055999999999998</c:v>
                </c:pt>
                <c:pt idx="3">
                  <c:v>2.2181000000000002</c:v>
                </c:pt>
                <c:pt idx="4">
                  <c:v>2.7117</c:v>
                </c:pt>
                <c:pt idx="5">
                  <c:v>3.2094999999999998</c:v>
                </c:pt>
              </c:numCache>
            </c:numRef>
          </c:xVal>
          <c:yVal>
            <c:numRef>
              <c:f>Sheet1!$B$2:$B$7</c:f>
              <c:numCache>
                <c:formatCode>General</c:formatCode>
                <c:ptCount val="6"/>
                <c:pt idx="0">
                  <c:v>0.88900000000000001</c:v>
                </c:pt>
                <c:pt idx="1">
                  <c:v>1.431</c:v>
                </c:pt>
                <c:pt idx="2">
                  <c:v>1.1040000000000001</c:v>
                </c:pt>
                <c:pt idx="3">
                  <c:v>0.64400000000000002</c:v>
                </c:pt>
                <c:pt idx="4">
                  <c:v>1.952</c:v>
                </c:pt>
                <c:pt idx="5">
                  <c:v>1.4830000000000001</c:v>
                </c:pt>
              </c:numCache>
            </c:numRef>
          </c:yVal>
          <c:bubbleSize>
            <c:numRef>
              <c:f>Sheet1!$C$2:$C$7</c:f>
              <c:numCache>
                <c:formatCode>General</c:formatCode>
                <c:ptCount val="6"/>
                <c:pt idx="0">
                  <c:v>143118908</c:v>
                </c:pt>
                <c:pt idx="1">
                  <c:v>133719924</c:v>
                </c:pt>
                <c:pt idx="2">
                  <c:v>109186832</c:v>
                </c:pt>
                <c:pt idx="3">
                  <c:v>100313963</c:v>
                </c:pt>
                <c:pt idx="4">
                  <c:v>40963436</c:v>
                </c:pt>
                <c:pt idx="5">
                  <c:v>11176159</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430638-69E4-4602-92A2-93ADBE8EC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D0BB708-B5D1-49F3-B84D-277745A515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C534DE-C0DB-4223-A170-A1B28B7A66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B350EA-505A-42E2-80AF-8E7BF162B0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C707E5B-7FCA-4E1B-9794-ABB94E5E5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5595CF-E743-4ED3-BC47-71A900C27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9809350-D3E8-4ABC-8092-4564B888B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78B7771-EB45-468C-8CED-133EFD5B9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692000000000001</c:v>
                </c:pt>
                <c:pt idx="1">
                  <c:v>3.4565000000000001</c:v>
                </c:pt>
                <c:pt idx="2">
                  <c:v>2.9908000000000001</c:v>
                </c:pt>
                <c:pt idx="3">
                  <c:v>2.3189000000000002</c:v>
                </c:pt>
                <c:pt idx="4">
                  <c:v>2.8247</c:v>
                </c:pt>
                <c:pt idx="5">
                  <c:v>3.0139</c:v>
                </c:pt>
              </c:numCache>
            </c:numRef>
          </c:xVal>
          <c:yVal>
            <c:numRef>
              <c:f>Sheet1!$B$2:$B$7</c:f>
              <c:numCache>
                <c:formatCode>General</c:formatCode>
                <c:ptCount val="6"/>
                <c:pt idx="0">
                  <c:v>0.81499999999999995</c:v>
                </c:pt>
                <c:pt idx="1">
                  <c:v>1.363</c:v>
                </c:pt>
                <c:pt idx="2">
                  <c:v>1.036</c:v>
                </c:pt>
                <c:pt idx="3">
                  <c:v>0.69099999999999995</c:v>
                </c:pt>
                <c:pt idx="4">
                  <c:v>2.008</c:v>
                </c:pt>
                <c:pt idx="5">
                  <c:v>1.6180000000000001</c:v>
                </c:pt>
              </c:numCache>
            </c:numRef>
          </c:yVal>
          <c:bubbleSize>
            <c:numRef>
              <c:f>Sheet1!$C$2:$C$7</c:f>
              <c:numCache>
                <c:formatCode>General</c:formatCode>
                <c:ptCount val="6"/>
                <c:pt idx="0">
                  <c:v>30468308</c:v>
                </c:pt>
                <c:pt idx="1">
                  <c:v>22613796</c:v>
                </c:pt>
                <c:pt idx="2">
                  <c:v>21233281</c:v>
                </c:pt>
                <c:pt idx="3">
                  <c:v>10731593</c:v>
                </c:pt>
                <c:pt idx="4">
                  <c:v>8292955</c:v>
                </c:pt>
                <c:pt idx="5">
                  <c:v>2020643</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0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3BC00D-6755-4BAF-AD91-B0209DACD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63384A-05A4-45FA-AC13-AB4DEB80C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87D762-64E4-4EF8-85F5-9A8C33C12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DDA385-FB04-4C5F-B812-A047D7330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937EBA-CC8B-44A9-902F-37601D97B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1941B4-E764-46AE-8157-A9E6F4652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D7643C3-E2C4-4CC2-A3F2-9A16688B7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0D60FD3-5DBE-4F81-9955-68ECD6A3A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3645999999999998</c:v>
                </c:pt>
                <c:pt idx="1">
                  <c:v>3.5409000000000002</c:v>
                </c:pt>
                <c:pt idx="2">
                  <c:v>3.1012</c:v>
                </c:pt>
                <c:pt idx="3">
                  <c:v>2.0585</c:v>
                </c:pt>
                <c:pt idx="4">
                  <c:v>2.7042000000000002</c:v>
                </c:pt>
                <c:pt idx="5">
                  <c:v>3.6595</c:v>
                </c:pt>
              </c:numCache>
            </c:numRef>
          </c:xVal>
          <c:yVal>
            <c:numRef>
              <c:f>Sheet1!$B$2:$B$7</c:f>
              <c:numCache>
                <c:formatCode>General</c:formatCode>
                <c:ptCount val="6"/>
                <c:pt idx="0">
                  <c:v>0.86699999999999999</c:v>
                </c:pt>
                <c:pt idx="1">
                  <c:v>1.371</c:v>
                </c:pt>
                <c:pt idx="2">
                  <c:v>1.073</c:v>
                </c:pt>
                <c:pt idx="3">
                  <c:v>0.64100000000000001</c:v>
                </c:pt>
                <c:pt idx="4">
                  <c:v>1.871</c:v>
                </c:pt>
                <c:pt idx="5">
                  <c:v>1.278</c:v>
                </c:pt>
              </c:numCache>
            </c:numRef>
          </c:yVal>
          <c:bubbleSize>
            <c:numRef>
              <c:f>Sheet1!$C$2:$C$7</c:f>
              <c:numCache>
                <c:formatCode>General</c:formatCode>
                <c:ptCount val="6"/>
                <c:pt idx="0">
                  <c:v>22557022</c:v>
                </c:pt>
                <c:pt idx="1">
                  <c:v>19313906</c:v>
                </c:pt>
                <c:pt idx="2">
                  <c:v>16396938</c:v>
                </c:pt>
                <c:pt idx="3">
                  <c:v>10594194</c:v>
                </c:pt>
                <c:pt idx="4">
                  <c:v>5799659</c:v>
                </c:pt>
                <c:pt idx="5">
                  <c:v>1522946</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42EFE3-9C89-4DC8-86B7-DED5CE012A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8F4111-FD97-4FEB-B653-38B53D86D6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1DA4A97-9882-49D1-8227-E2FB7B3E8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6D6D09-E714-4BA5-94BD-0B1426AE2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49246B-B87E-4CC6-9970-45DE7D0A1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9CBDFE3-02B9-4429-86B3-2AD5F0F6A1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40FD54F-C05D-4553-8AC7-84551D6228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984714D-CA89-4E95-B7E8-5DCA86946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56</c:v>
                </c:pt>
                <c:pt idx="1">
                  <c:v>1.5004999999999999</c:v>
                </c:pt>
                <c:pt idx="2">
                  <c:v>2.4567999999999999</c:v>
                </c:pt>
                <c:pt idx="3">
                  <c:v>2.2768000000000002</c:v>
                </c:pt>
                <c:pt idx="4">
                  <c:v>2.3458000000000001</c:v>
                </c:pt>
                <c:pt idx="5">
                  <c:v>2.4558</c:v>
                </c:pt>
                <c:pt idx="6">
                  <c:v>2.5592999999999999</c:v>
                </c:pt>
                <c:pt idx="7">
                  <c:v>8.8888999999999996</c:v>
                </c:pt>
              </c:numCache>
            </c:numRef>
          </c:xVal>
          <c:yVal>
            <c:numRef>
              <c:f>Sheet1!$B$2:$B$9</c:f>
              <c:numCache>
                <c:formatCode>General</c:formatCode>
                <c:ptCount val="8"/>
                <c:pt idx="0">
                  <c:v>1.1499999999999999</c:v>
                </c:pt>
                <c:pt idx="1">
                  <c:v>0.68899999999999995</c:v>
                </c:pt>
                <c:pt idx="2">
                  <c:v>1.0349999999999999</c:v>
                </c:pt>
                <c:pt idx="3">
                  <c:v>1.1140000000000001</c:v>
                </c:pt>
                <c:pt idx="4">
                  <c:v>1.3320000000000001</c:v>
                </c:pt>
                <c:pt idx="5">
                  <c:v>1.099</c:v>
                </c:pt>
                <c:pt idx="6">
                  <c:v>1.5149999999999999</c:v>
                </c:pt>
                <c:pt idx="7">
                  <c:v>0.80100000000000005</c:v>
                </c:pt>
              </c:numCache>
            </c:numRef>
          </c:yVal>
          <c:bubbleSize>
            <c:numRef>
              <c:f>Sheet1!$C$2:$C$9</c:f>
              <c:numCache>
                <c:formatCode>General</c:formatCode>
                <c:ptCount val="8"/>
                <c:pt idx="0">
                  <c:v>188621011</c:v>
                </c:pt>
                <c:pt idx="1">
                  <c:v>139659774</c:v>
                </c:pt>
                <c:pt idx="2">
                  <c:v>89110867</c:v>
                </c:pt>
                <c:pt idx="3">
                  <c:v>74612015</c:v>
                </c:pt>
                <c:pt idx="4">
                  <c:v>69893459</c:v>
                </c:pt>
                <c:pt idx="5">
                  <c:v>40894571</c:v>
                </c:pt>
                <c:pt idx="6">
                  <c:v>5842132</c:v>
                </c:pt>
                <c:pt idx="7">
                  <c:v>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ABAE35-2A2D-4E51-B2A5-C8667B5AF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F0792B-1115-4DA8-908B-1672FD342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206236-CBDC-4D8A-8948-C8E12468A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5984829-56D7-4E3C-B29C-96735CAB1B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5A16D6-C9ED-4188-A122-1A656071C7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7D3503-EFD2-49DC-9D04-9E86B3907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EFB054E-85D1-4E91-A0AA-BE54FE6FB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6875B7-3F5D-4325-994A-DED89055E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144000000000002</c:v>
                </c:pt>
                <c:pt idx="1">
                  <c:v>1.6611</c:v>
                </c:pt>
                <c:pt idx="2">
                  <c:v>2.5226999999999999</c:v>
                </c:pt>
                <c:pt idx="3">
                  <c:v>2.3923999999999999</c:v>
                </c:pt>
                <c:pt idx="4">
                  <c:v>2.4001999999999999</c:v>
                </c:pt>
                <c:pt idx="5">
                  <c:v>2.4596</c:v>
                </c:pt>
                <c:pt idx="6">
                  <c:v>2.6608000000000001</c:v>
                </c:pt>
                <c:pt idx="7">
                  <c:v>8.8888999999999996</c:v>
                </c:pt>
              </c:numCache>
            </c:numRef>
          </c:xVal>
          <c:yVal>
            <c:numRef>
              <c:f>Sheet1!$B$2:$B$9</c:f>
              <c:numCache>
                <c:formatCode>General</c:formatCode>
                <c:ptCount val="8"/>
                <c:pt idx="0">
                  <c:v>1.131</c:v>
                </c:pt>
                <c:pt idx="1">
                  <c:v>0.69099999999999995</c:v>
                </c:pt>
                <c:pt idx="2">
                  <c:v>0.98699999999999999</c:v>
                </c:pt>
                <c:pt idx="3">
                  <c:v>1.0880000000000001</c:v>
                </c:pt>
                <c:pt idx="4">
                  <c:v>1.2669999999999999</c:v>
                </c:pt>
                <c:pt idx="5">
                  <c:v>1.0169999999999999</c:v>
                </c:pt>
                <c:pt idx="6">
                  <c:v>1.4339999999999999</c:v>
                </c:pt>
                <c:pt idx="7">
                  <c:v>0.73599999999999999</c:v>
                </c:pt>
              </c:numCache>
            </c:numRef>
          </c:yVal>
          <c:bubbleSize>
            <c:numRef>
              <c:f>Sheet1!$C$2:$C$9</c:f>
              <c:numCache>
                <c:formatCode>General</c:formatCode>
                <c:ptCount val="8"/>
                <c:pt idx="0">
                  <c:v>30956719</c:v>
                </c:pt>
                <c:pt idx="1">
                  <c:v>16850297</c:v>
                </c:pt>
                <c:pt idx="2">
                  <c:v>16088426</c:v>
                </c:pt>
                <c:pt idx="3">
                  <c:v>12545434</c:v>
                </c:pt>
                <c:pt idx="4">
                  <c:v>12208672</c:v>
                </c:pt>
                <c:pt idx="5">
                  <c:v>8124232</c:v>
                </c:pt>
                <c:pt idx="6">
                  <c:v>1583106</c:v>
                </c:pt>
                <c:pt idx="7">
                  <c:v>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3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8EFB2A-EF1C-45F6-BA06-CD5E63FA1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BCC64A-72CD-48D2-9DAD-86519056B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38833DC-F078-4FFC-80AA-849E749177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F6CB20-4728-4391-B5CD-F4A9DC382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AA9066-0850-43F2-9220-0A931BF899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7004B9-D96F-4D5A-91BC-6BB1BA0C3C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EEDE984-676E-48A1-96DA-E3F0D29778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48DE94-0E05-4110-BCC0-8A0D2273F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500999999999999</c:v>
                </c:pt>
                <c:pt idx="1">
                  <c:v>1.4523999999999999</c:v>
                </c:pt>
                <c:pt idx="2">
                  <c:v>2.4236</c:v>
                </c:pt>
                <c:pt idx="3">
                  <c:v>2.4525000000000001</c:v>
                </c:pt>
                <c:pt idx="4">
                  <c:v>2.3136999999999999</c:v>
                </c:pt>
                <c:pt idx="5">
                  <c:v>2.4967000000000001</c:v>
                </c:pt>
                <c:pt idx="6">
                  <c:v>2.4449999999999998</c:v>
                </c:pt>
                <c:pt idx="7">
                  <c:v>2.4443000000000001</c:v>
                </c:pt>
              </c:numCache>
            </c:numRef>
          </c:xVal>
          <c:yVal>
            <c:numRef>
              <c:f>Sheet1!$B$2:$B$9</c:f>
              <c:numCache>
                <c:formatCode>General</c:formatCode>
                <c:ptCount val="8"/>
                <c:pt idx="0">
                  <c:v>1.0820000000000001</c:v>
                </c:pt>
                <c:pt idx="1">
                  <c:v>0.67800000000000005</c:v>
                </c:pt>
                <c:pt idx="2">
                  <c:v>1.276</c:v>
                </c:pt>
                <c:pt idx="3">
                  <c:v>0.97599999999999998</c:v>
                </c:pt>
                <c:pt idx="4">
                  <c:v>1.087</c:v>
                </c:pt>
                <c:pt idx="5">
                  <c:v>1.0640000000000001</c:v>
                </c:pt>
                <c:pt idx="6">
                  <c:v>0.96699999999999997</c:v>
                </c:pt>
                <c:pt idx="7">
                  <c:v>1.5169999999999999</c:v>
                </c:pt>
              </c:numCache>
            </c:numRef>
          </c:yVal>
          <c:bubbleSize>
            <c:numRef>
              <c:f>Sheet1!$C$2:$C$9</c:f>
              <c:numCache>
                <c:formatCode>General</c:formatCode>
                <c:ptCount val="8"/>
                <c:pt idx="0">
                  <c:v>30253337</c:v>
                </c:pt>
                <c:pt idx="1">
                  <c:v>14481315</c:v>
                </c:pt>
                <c:pt idx="2">
                  <c:v>14007524</c:v>
                </c:pt>
                <c:pt idx="3">
                  <c:v>12109563</c:v>
                </c:pt>
                <c:pt idx="4">
                  <c:v>11825696</c:v>
                </c:pt>
                <c:pt idx="5">
                  <c:v>5828870</c:v>
                </c:pt>
                <c:pt idx="6">
                  <c:v>3949392</c:v>
                </c:pt>
                <c:pt idx="7">
                  <c:v>802773</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Boursin</c:v>
                  </c:pt>
                  <c:pt idx="3">
                    <c:v>Paysan Breton</c:v>
                  </c:pt>
                  <c:pt idx="4">
                    <c:v>Tartare</c:v>
                  </c:pt>
                  <c:pt idx="5">
                    <c:v>Carre Frais</c:v>
                  </c:pt>
                  <c:pt idx="6">
                    <c:v>Philadelphia</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A115C1-4CD5-4125-B952-006B0F934B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9B21619-00F9-4EE2-874D-2B96D95D7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0201C9-D237-436B-90C2-E0D7E62C8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0C81A5B-D4C2-4E49-A4D7-0CCBC64DE1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93E79DF-EED0-49C4-9676-28FB9551C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D30A72-F124-4A21-AFA3-29FE958CA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A278AB-D468-4017-973A-BD4094FA4E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0D2347-2601-4B92-80DC-EB3BC513A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87</c:v>
                </c:pt>
                <c:pt idx="1">
                  <c:v>2.2827999999999999</c:v>
                </c:pt>
                <c:pt idx="2">
                  <c:v>2.7042000000000002</c:v>
                </c:pt>
                <c:pt idx="3">
                  <c:v>2.9156</c:v>
                </c:pt>
                <c:pt idx="4">
                  <c:v>3.2122000000000002</c:v>
                </c:pt>
                <c:pt idx="5">
                  <c:v>3.2845</c:v>
                </c:pt>
                <c:pt idx="6">
                  <c:v>2.9792000000000001</c:v>
                </c:pt>
                <c:pt idx="7">
                  <c:v>2.3307000000000002</c:v>
                </c:pt>
              </c:numCache>
            </c:numRef>
          </c:xVal>
          <c:yVal>
            <c:numRef>
              <c:f>Sheet1!$B$2:$B$9</c:f>
              <c:numCache>
                <c:formatCode>General</c:formatCode>
                <c:ptCount val="8"/>
                <c:pt idx="0">
                  <c:v>0.85499999999999998</c:v>
                </c:pt>
                <c:pt idx="1">
                  <c:v>0.82199999999999995</c:v>
                </c:pt>
                <c:pt idx="2">
                  <c:v>1.0820000000000001</c:v>
                </c:pt>
                <c:pt idx="3">
                  <c:v>1.1399999999999999</c:v>
                </c:pt>
                <c:pt idx="4">
                  <c:v>1.1879999999999999</c:v>
                </c:pt>
                <c:pt idx="5">
                  <c:v>0.92500000000000004</c:v>
                </c:pt>
                <c:pt idx="6">
                  <c:v>1.1619999999999999</c:v>
                </c:pt>
                <c:pt idx="7">
                  <c:v>1.3620000000000001</c:v>
                </c:pt>
              </c:numCache>
            </c:numRef>
          </c:yVal>
          <c:bubbleSize>
            <c:numRef>
              <c:f>Sheet1!$C$2:$C$9</c:f>
              <c:numCache>
                <c:formatCode>General</c:formatCode>
                <c:ptCount val="8"/>
                <c:pt idx="0">
                  <c:v>1760863092</c:v>
                </c:pt>
                <c:pt idx="1">
                  <c:v>230947562</c:v>
                </c:pt>
                <c:pt idx="2">
                  <c:v>200738299</c:v>
                </c:pt>
                <c:pt idx="3">
                  <c:v>188621011</c:v>
                </c:pt>
                <c:pt idx="4">
                  <c:v>187705593</c:v>
                </c:pt>
                <c:pt idx="5">
                  <c:v>143118988</c:v>
                </c:pt>
                <c:pt idx="6">
                  <c:v>115028964</c:v>
                </c:pt>
                <c:pt idx="7">
                  <c:v>8176367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639945-903B-4AC3-B375-EA48784DD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6BC060-E4CD-4C35-9B7B-52955D621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7C0677-E33C-4841-978A-8631619E2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A4C6EB-39C9-483D-BB48-E938699919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7A4E4C-6D7D-4AEC-9A50-10FD24B34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B27F1C-B8EE-498D-A752-1CBC0EA4B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F671DF9-1050-4449-B569-F8E334950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5522C59-F287-4D7A-8123-5345EC0A2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124000000000001</c:v>
                </c:pt>
                <c:pt idx="1">
                  <c:v>2.2103999999999999</c:v>
                </c:pt>
                <c:pt idx="2">
                  <c:v>2.1956000000000002</c:v>
                </c:pt>
                <c:pt idx="3">
                  <c:v>2.9782000000000002</c:v>
                </c:pt>
                <c:pt idx="4">
                  <c:v>2.7964000000000002</c:v>
                </c:pt>
                <c:pt idx="5">
                  <c:v>2.2454000000000001</c:v>
                </c:pt>
              </c:numCache>
            </c:numRef>
          </c:xVal>
          <c:yVal>
            <c:numRef>
              <c:f>Sheet1!$B$2:$B$7</c:f>
              <c:numCache>
                <c:formatCode>General</c:formatCode>
                <c:ptCount val="6"/>
                <c:pt idx="0">
                  <c:v>0.91200000000000003</c:v>
                </c:pt>
                <c:pt idx="1">
                  <c:v>1.0169999999999999</c:v>
                </c:pt>
                <c:pt idx="2">
                  <c:v>1.1639999999999999</c:v>
                </c:pt>
                <c:pt idx="3">
                  <c:v>1.1000000000000001</c:v>
                </c:pt>
                <c:pt idx="4">
                  <c:v>1.5089999999999999</c:v>
                </c:pt>
                <c:pt idx="5">
                  <c:v>1.5149999999999999</c:v>
                </c:pt>
              </c:numCache>
            </c:numRef>
          </c:yVal>
          <c:bubbleSize>
            <c:numRef>
              <c:f>Sheet1!$C$2:$C$7</c:f>
              <c:numCache>
                <c:formatCode>General</c:formatCode>
                <c:ptCount val="6"/>
                <c:pt idx="0">
                  <c:v>648086880</c:v>
                </c:pt>
                <c:pt idx="1">
                  <c:v>128025062</c:v>
                </c:pt>
                <c:pt idx="2">
                  <c:v>80048487</c:v>
                </c:pt>
                <c:pt idx="3">
                  <c:v>67882460</c:v>
                </c:pt>
                <c:pt idx="4">
                  <c:v>18235670</c:v>
                </c:pt>
                <c:pt idx="5">
                  <c:v>1187022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C9BA21-BECE-45CE-9CB0-5AA588269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B404D2-22B5-4E0D-A4CF-9DD781AAC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41A77E-2E0E-466F-973B-1D30BF1CD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E1FB59C-B08D-432F-B05C-8424182E9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5C17334-EF05-49FB-B233-E4DB35F00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500085-CDE3-4578-BCEA-DC63DEA37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968B8C9-703A-4C1E-B2AB-19E10F385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BCCB8F5-2C61-4504-B91A-8418FDD91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006</c:v>
                </c:pt>
                <c:pt idx="1">
                  <c:v>2.1936</c:v>
                </c:pt>
                <c:pt idx="2">
                  <c:v>2.3405</c:v>
                </c:pt>
                <c:pt idx="3">
                  <c:v>3.0482</c:v>
                </c:pt>
                <c:pt idx="4">
                  <c:v>2.7654000000000001</c:v>
                </c:pt>
                <c:pt idx="5">
                  <c:v>2.2364000000000002</c:v>
                </c:pt>
              </c:numCache>
            </c:numRef>
          </c:xVal>
          <c:yVal>
            <c:numRef>
              <c:f>Sheet1!$B$2:$B$7</c:f>
              <c:numCache>
                <c:formatCode>General</c:formatCode>
                <c:ptCount val="6"/>
                <c:pt idx="0">
                  <c:v>0.91800000000000004</c:v>
                </c:pt>
                <c:pt idx="1">
                  <c:v>0.94699999999999995</c:v>
                </c:pt>
                <c:pt idx="2">
                  <c:v>1.149</c:v>
                </c:pt>
                <c:pt idx="3">
                  <c:v>1.032</c:v>
                </c:pt>
                <c:pt idx="4">
                  <c:v>1.3859999999999999</c:v>
                </c:pt>
                <c:pt idx="5">
                  <c:v>1.403</c:v>
                </c:pt>
              </c:numCache>
            </c:numRef>
          </c:yVal>
          <c:bubbleSize>
            <c:numRef>
              <c:f>Sheet1!$C$2:$C$7</c:f>
              <c:numCache>
                <c:formatCode>General</c:formatCode>
                <c:ptCount val="6"/>
                <c:pt idx="0">
                  <c:v>111360239</c:v>
                </c:pt>
                <c:pt idx="1">
                  <c:v>19606463</c:v>
                </c:pt>
                <c:pt idx="2">
                  <c:v>15221952</c:v>
                </c:pt>
                <c:pt idx="3">
                  <c:v>12937123</c:v>
                </c:pt>
                <c:pt idx="4">
                  <c:v>3699783</c:v>
                </c:pt>
                <c:pt idx="5">
                  <c:v>31968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483FB8-FDED-4E94-8B94-9E8C23654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D702446-7581-489F-866B-EDDA970C3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F3A1CB5-1D2A-4593-9B8D-4CA2419DE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FC005E-2BFB-437B-9D2B-AD8C6683C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DB4B58-68E5-4499-AC76-FE69511A67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373D66-07AB-47AC-AC3B-A7F2164DC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78F3680-E533-497C-865D-CFE39F7E4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4E5CAD0-3EF9-4D8D-BEFE-8DB9D224F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8496999999999999</c:v>
                </c:pt>
                <c:pt idx="1">
                  <c:v>2.2946</c:v>
                </c:pt>
                <c:pt idx="2">
                  <c:v>2.9693999999999998</c:v>
                </c:pt>
                <c:pt idx="3">
                  <c:v>2.3797000000000001</c:v>
                </c:pt>
                <c:pt idx="4">
                  <c:v>2.8961999999999999</c:v>
                </c:pt>
                <c:pt idx="5">
                  <c:v>2.3374000000000001</c:v>
                </c:pt>
              </c:numCache>
            </c:numRef>
          </c:xVal>
          <c:yVal>
            <c:numRef>
              <c:f>Sheet1!$B$2:$B$7</c:f>
              <c:numCache>
                <c:formatCode>General</c:formatCode>
                <c:ptCount val="6"/>
                <c:pt idx="0">
                  <c:v>0.89100000000000001</c:v>
                </c:pt>
                <c:pt idx="1">
                  <c:v>1.087</c:v>
                </c:pt>
                <c:pt idx="2">
                  <c:v>1.121</c:v>
                </c:pt>
                <c:pt idx="3">
                  <c:v>1.2410000000000001</c:v>
                </c:pt>
                <c:pt idx="4">
                  <c:v>1.6279999999999999</c:v>
                </c:pt>
                <c:pt idx="5">
                  <c:v>1.645</c:v>
                </c:pt>
              </c:numCache>
            </c:numRef>
          </c:yVal>
          <c:bubbleSize>
            <c:numRef>
              <c:f>Sheet1!$C$2:$C$7</c:f>
              <c:numCache>
                <c:formatCode>General</c:formatCode>
                <c:ptCount val="6"/>
                <c:pt idx="0">
                  <c:v>70217825</c:v>
                </c:pt>
                <c:pt idx="1">
                  <c:v>23364293</c:v>
                </c:pt>
                <c:pt idx="2">
                  <c:v>10441025</c:v>
                </c:pt>
                <c:pt idx="3">
                  <c:v>7314596</c:v>
                </c:pt>
                <c:pt idx="4">
                  <c:v>2904193</c:v>
                </c:pt>
                <c:pt idx="5">
                  <c:v>1794318</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A9D0A2-946F-4D9F-90FF-6AFCC41EB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04C141-09C8-45E1-8E88-476F6D4E0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9A9D9A-3AD6-42E9-AA96-656B94AC1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43428D-CF84-43C5-BA44-069484FE0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7EFDF61-6EF4-46E2-BE68-C87F0EE3B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6024B1F-92D7-4DBE-AC86-D4862F667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51E2392-89C0-4D51-A401-1E66F0B60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10B47A-0B1C-4747-BBC4-4E31E2357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707999999999999</c:v>
                </c:pt>
                <c:pt idx="1">
                  <c:v>2.9323999999999999</c:v>
                </c:pt>
                <c:pt idx="2">
                  <c:v>2.7601</c:v>
                </c:pt>
                <c:pt idx="3">
                  <c:v>3.1202999999999999</c:v>
                </c:pt>
                <c:pt idx="4">
                  <c:v>2.7181000000000002</c:v>
                </c:pt>
                <c:pt idx="5">
                  <c:v>3.3361000000000001</c:v>
                </c:pt>
                <c:pt idx="6">
                  <c:v>2.2164999999999999</c:v>
                </c:pt>
                <c:pt idx="7">
                  <c:v>2.4727999999999999</c:v>
                </c:pt>
              </c:numCache>
            </c:numRef>
          </c:xVal>
          <c:yVal>
            <c:numRef>
              <c:f>Sheet1!$B$2:$B$9</c:f>
              <c:numCache>
                <c:formatCode>General</c:formatCode>
                <c:ptCount val="8"/>
                <c:pt idx="0">
                  <c:v>0.86599999999999999</c:v>
                </c:pt>
                <c:pt idx="1">
                  <c:v>1.089</c:v>
                </c:pt>
                <c:pt idx="2">
                  <c:v>1.0429999999999999</c:v>
                </c:pt>
                <c:pt idx="3">
                  <c:v>1.194</c:v>
                </c:pt>
                <c:pt idx="4">
                  <c:v>1.103</c:v>
                </c:pt>
                <c:pt idx="5">
                  <c:v>1.2909999999999999</c:v>
                </c:pt>
                <c:pt idx="6">
                  <c:v>1.3129999999999999</c:v>
                </c:pt>
                <c:pt idx="7">
                  <c:v>0.98799999999999999</c:v>
                </c:pt>
              </c:numCache>
            </c:numRef>
          </c:yVal>
          <c:bubbleSize>
            <c:numRef>
              <c:f>Sheet1!$C$2:$C$9</c:f>
              <c:numCache>
                <c:formatCode>General</c:formatCode>
                <c:ptCount val="8"/>
                <c:pt idx="0">
                  <c:v>3555101229</c:v>
                </c:pt>
                <c:pt idx="1">
                  <c:v>1071381011</c:v>
                </c:pt>
                <c:pt idx="2">
                  <c:v>1058642183</c:v>
                </c:pt>
                <c:pt idx="3">
                  <c:v>652929885</c:v>
                </c:pt>
                <c:pt idx="4">
                  <c:v>243932031</c:v>
                </c:pt>
                <c:pt idx="5">
                  <c:v>194494419</c:v>
                </c:pt>
                <c:pt idx="6">
                  <c:v>118795653</c:v>
                </c:pt>
                <c:pt idx="7">
                  <c:v>98952065</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Entremont</c:v>
                  </c:pt>
                  <c:pt idx="6">
                    <c:v>Casa Azzurra</c:v>
                  </c:pt>
                  <c:pt idx="7">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65A3C0-01CC-47E2-96AC-38094D0F3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7B8CD5-8FFD-4671-B02E-C10934C0B9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40829D-BFE1-483B-9603-9ACB6302D0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82DB88-E926-458C-B629-464F4947E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C079EA3-63BA-4CE2-91CC-3B7662C87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F7082F-1F64-4990-9BF7-076FC88D2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AC94A40-0A73-4398-A5D9-99660CC70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58DB19-7077-463F-97F1-06E07AF49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06999999999999</c:v>
                </c:pt>
                <c:pt idx="1">
                  <c:v>2.9798</c:v>
                </c:pt>
                <c:pt idx="2">
                  <c:v>2.8147000000000002</c:v>
                </c:pt>
                <c:pt idx="3">
                  <c:v>3.1238999999999999</c:v>
                </c:pt>
                <c:pt idx="4">
                  <c:v>2.8496000000000001</c:v>
                </c:pt>
                <c:pt idx="5">
                  <c:v>3.2591000000000001</c:v>
                </c:pt>
                <c:pt idx="6">
                  <c:v>2.3866000000000001</c:v>
                </c:pt>
                <c:pt idx="7">
                  <c:v>2.5794999999999999</c:v>
                </c:pt>
              </c:numCache>
            </c:numRef>
          </c:xVal>
          <c:yVal>
            <c:numRef>
              <c:f>Sheet1!$B$2:$B$9</c:f>
              <c:numCache>
                <c:formatCode>General</c:formatCode>
                <c:ptCount val="8"/>
                <c:pt idx="0">
                  <c:v>0.88300000000000001</c:v>
                </c:pt>
                <c:pt idx="1">
                  <c:v>1.0429999999999999</c:v>
                </c:pt>
                <c:pt idx="2">
                  <c:v>0.99399999999999999</c:v>
                </c:pt>
                <c:pt idx="3">
                  <c:v>1.077</c:v>
                </c:pt>
                <c:pt idx="4">
                  <c:v>1.0760000000000001</c:v>
                </c:pt>
                <c:pt idx="5">
                  <c:v>1.2</c:v>
                </c:pt>
                <c:pt idx="6">
                  <c:v>1.3009999999999999</c:v>
                </c:pt>
                <c:pt idx="7">
                  <c:v>0.93500000000000005</c:v>
                </c:pt>
              </c:numCache>
            </c:numRef>
          </c:yVal>
          <c:bubbleSize>
            <c:numRef>
              <c:f>Sheet1!$C$2:$C$9</c:f>
              <c:numCache>
                <c:formatCode>General</c:formatCode>
                <c:ptCount val="8"/>
                <c:pt idx="0">
                  <c:v>498218809</c:v>
                </c:pt>
                <c:pt idx="1">
                  <c:v>180598861</c:v>
                </c:pt>
                <c:pt idx="2">
                  <c:v>164323491</c:v>
                </c:pt>
                <c:pt idx="3">
                  <c:v>124943494</c:v>
                </c:pt>
                <c:pt idx="4">
                  <c:v>40417738</c:v>
                </c:pt>
                <c:pt idx="5">
                  <c:v>23382252</c:v>
                </c:pt>
                <c:pt idx="6">
                  <c:v>21492544</c:v>
                </c:pt>
                <c:pt idx="7">
                  <c:v>17443671</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Entremont</c:v>
                  </c:pt>
                  <c:pt idx="6">
                    <c:v>Casa Azzurra</c:v>
                  </c:pt>
                  <c:pt idx="7">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FF9B49-4DAF-4907-A2C2-173E3BE71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D87EA9-7EC4-4E80-B327-A9C2ECC5B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A6FF20-0AAB-4C41-980A-4F47257AD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B666DD4-C143-41C5-94D0-DD50DECA2B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86A6C7-E5C0-427A-B68E-9B87D15AF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2003C0-3274-49C2-8FC7-9112A6562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082376F-4457-40B6-9C8D-3348C9CC3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F9E5475-6F6E-47A5-9772-ECCF06327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2894999999999999</c:v>
                </c:pt>
                <c:pt idx="1">
                  <c:v>2.8675000000000002</c:v>
                </c:pt>
                <c:pt idx="2">
                  <c:v>3.1089000000000002</c:v>
                </c:pt>
                <c:pt idx="3">
                  <c:v>3.1818</c:v>
                </c:pt>
                <c:pt idx="4">
                  <c:v>3.3226</c:v>
                </c:pt>
                <c:pt idx="5">
                  <c:v>2.7464</c:v>
                </c:pt>
                <c:pt idx="6">
                  <c:v>2.1781000000000001</c:v>
                </c:pt>
              </c:numCache>
            </c:numRef>
          </c:xVal>
          <c:yVal>
            <c:numRef>
              <c:f>Sheet1!$B$2:$B$8</c:f>
              <c:numCache>
                <c:formatCode>General</c:formatCode>
                <c:ptCount val="7"/>
                <c:pt idx="0">
                  <c:v>0.85199999999999998</c:v>
                </c:pt>
                <c:pt idx="1">
                  <c:v>1.0569999999999999</c:v>
                </c:pt>
                <c:pt idx="2">
                  <c:v>1.159</c:v>
                </c:pt>
                <c:pt idx="3">
                  <c:v>1.2529999999999999</c:v>
                </c:pt>
                <c:pt idx="4">
                  <c:v>1.323</c:v>
                </c:pt>
                <c:pt idx="5">
                  <c:v>1.137</c:v>
                </c:pt>
                <c:pt idx="6">
                  <c:v>1.4590000000000001</c:v>
                </c:pt>
              </c:numCache>
            </c:numRef>
          </c:yVal>
          <c:bubbleSize>
            <c:numRef>
              <c:f>Sheet1!$C$2:$C$8</c:f>
              <c:numCache>
                <c:formatCode>General</c:formatCode>
                <c:ptCount val="7"/>
                <c:pt idx="0">
                  <c:v>635650528</c:v>
                </c:pt>
                <c:pt idx="1">
                  <c:v>238035080</c:v>
                </c:pt>
                <c:pt idx="2">
                  <c:v>195484358</c:v>
                </c:pt>
                <c:pt idx="3">
                  <c:v>109238388</c:v>
                </c:pt>
                <c:pt idx="4">
                  <c:v>66286307</c:v>
                </c:pt>
                <c:pt idx="5">
                  <c:v>43427459</c:v>
                </c:pt>
                <c:pt idx="6">
                  <c:v>14616739</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Savencia</c:v>
                  </c:pt>
                  <c:pt idx="3">
                    <c:v>Bel</c:v>
                  </c:pt>
                  <c:pt idx="4">
                    <c:v>Entremont</c:v>
                  </c:pt>
                  <c:pt idx="5">
                    <c:v>Eurial</c:v>
                  </c:pt>
                  <c:pt idx="6">
                    <c:v>Casa Azzurr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ED5F2E-561A-49A0-8C04-5B47D26F4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CFAFFC-425A-4378-9F34-A89C3ADEB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6BBACF-E942-45F4-81A3-064374ECE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DFF39C-6A6E-429A-B200-DF9CE95AA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466FEED-04E3-4BB8-AC6B-AB2307DD0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B4DC2B9-1905-4CB9-AB9D-D7D810899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AACC6F-74F1-47C7-9BC6-DF2454807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B0BF655-4A35-4FA5-94AF-8C6EEAA98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387</c:v>
                </c:pt>
                <c:pt idx="1">
                  <c:v>2.7644000000000002</c:v>
                </c:pt>
                <c:pt idx="2">
                  <c:v>2.5047000000000001</c:v>
                </c:pt>
                <c:pt idx="3">
                  <c:v>3.0444</c:v>
                </c:pt>
                <c:pt idx="4">
                  <c:v>2.7181999999999999</c:v>
                </c:pt>
                <c:pt idx="5">
                  <c:v>2.4735</c:v>
                </c:pt>
                <c:pt idx="6">
                  <c:v>2.2101999999999999</c:v>
                </c:pt>
              </c:numCache>
            </c:numRef>
          </c:xVal>
          <c:yVal>
            <c:numRef>
              <c:f>Sheet1!$B$2:$B$8</c:f>
              <c:numCache>
                <c:formatCode>General</c:formatCode>
                <c:ptCount val="7"/>
                <c:pt idx="0">
                  <c:v>0.85499999999999998</c:v>
                </c:pt>
                <c:pt idx="1">
                  <c:v>1.044</c:v>
                </c:pt>
                <c:pt idx="2">
                  <c:v>1.032</c:v>
                </c:pt>
                <c:pt idx="3">
                  <c:v>1.173</c:v>
                </c:pt>
                <c:pt idx="4">
                  <c:v>1.0960000000000001</c:v>
                </c:pt>
                <c:pt idx="5">
                  <c:v>1.014</c:v>
                </c:pt>
                <c:pt idx="6">
                  <c:v>1.2869999999999999</c:v>
                </c:pt>
              </c:numCache>
            </c:numRef>
          </c:yVal>
          <c:bubbleSize>
            <c:numRef>
              <c:f>Sheet1!$C$2:$C$8</c:f>
              <c:numCache>
                <c:formatCode>General</c:formatCode>
                <c:ptCount val="7"/>
                <c:pt idx="0">
                  <c:v>1760863092</c:v>
                </c:pt>
                <c:pt idx="1">
                  <c:v>782381468</c:v>
                </c:pt>
                <c:pt idx="2">
                  <c:v>567498945</c:v>
                </c:pt>
                <c:pt idx="3">
                  <c:v>473706304</c:v>
                </c:pt>
                <c:pt idx="4">
                  <c:v>208748541</c:v>
                </c:pt>
                <c:pt idx="5">
                  <c:v>91929908</c:v>
                </c:pt>
                <c:pt idx="6">
                  <c:v>81358477</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Laita</c:v>
                  </c:pt>
                  <c:pt idx="6">
                    <c:v>Casa Azzurr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0D8E7D-958E-4786-A91B-E0A36DEFA2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1AADAB-DAE4-4A5F-B564-E6CAB8B9A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999F71-8D72-403D-8CAE-B5E24C8FC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1C09D3-D837-4013-9B57-481D67DD81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F18C500-ABF0-42B9-8C22-DA71C77AB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20FC53-43D0-4804-984C-FCE1FE8ED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F5F3462-DDCD-4F5A-9C11-7A78D4C62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2AC028-C800-4C0E-8573-9A6F4F57C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9</c:v>
                </c:pt>
                <c:pt idx="1">
                  <c:v>2.8267000000000002</c:v>
                </c:pt>
                <c:pt idx="2">
                  <c:v>2.5550000000000002</c:v>
                </c:pt>
                <c:pt idx="3">
                  <c:v>3.0360999999999998</c:v>
                </c:pt>
                <c:pt idx="4">
                  <c:v>2.84</c:v>
                </c:pt>
                <c:pt idx="5">
                  <c:v>2.5825999999999998</c:v>
                </c:pt>
                <c:pt idx="6">
                  <c:v>2.3689</c:v>
                </c:pt>
                <c:pt idx="7">
                  <c:v>2.8247</c:v>
                </c:pt>
              </c:numCache>
            </c:numRef>
          </c:xVal>
          <c:yVal>
            <c:numRef>
              <c:f>Sheet1!$B$2:$B$9</c:f>
              <c:numCache>
                <c:formatCode>General</c:formatCode>
                <c:ptCount val="8"/>
                <c:pt idx="0">
                  <c:v>0.88500000000000001</c:v>
                </c:pt>
                <c:pt idx="1">
                  <c:v>1.016</c:v>
                </c:pt>
                <c:pt idx="2">
                  <c:v>0.96699999999999997</c:v>
                </c:pt>
                <c:pt idx="3">
                  <c:v>1.0329999999999999</c:v>
                </c:pt>
                <c:pt idx="4">
                  <c:v>1.0680000000000001</c:v>
                </c:pt>
                <c:pt idx="5">
                  <c:v>0.96199999999999997</c:v>
                </c:pt>
                <c:pt idx="6">
                  <c:v>1.2749999999999999</c:v>
                </c:pt>
                <c:pt idx="7">
                  <c:v>1.976</c:v>
                </c:pt>
              </c:numCache>
            </c:numRef>
          </c:yVal>
          <c:bubbleSize>
            <c:numRef>
              <c:f>Sheet1!$C$2:$C$9</c:f>
              <c:numCache>
                <c:formatCode>General</c:formatCode>
                <c:ptCount val="8"/>
                <c:pt idx="0">
                  <c:v>263392264</c:v>
                </c:pt>
                <c:pt idx="1">
                  <c:v>138454434</c:v>
                </c:pt>
                <c:pt idx="2">
                  <c:v>96164672</c:v>
                </c:pt>
                <c:pt idx="3">
                  <c:v>91304687</c:v>
                </c:pt>
                <c:pt idx="4">
                  <c:v>35530654</c:v>
                </c:pt>
                <c:pt idx="5">
                  <c:v>17030223</c:v>
                </c:pt>
                <c:pt idx="6">
                  <c:v>15744363</c:v>
                </c:pt>
                <c:pt idx="7">
                  <c:v>8292955</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Laita</c:v>
                  </c:pt>
                  <c:pt idx="6">
                    <c:v>Casa Azzurra</c:v>
                  </c:pt>
                  <c:pt idx="7">
                    <c:v>Ker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76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73C278-9CCC-4929-81F9-1AF951249A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ADE0DB-2EF9-45B6-BF4F-C9BAB5618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25BB7B-14A0-4DF5-BE03-195368F3E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9F7D50-9144-4F52-B8DF-F2E267F3D3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3F890F-F867-483D-B9DF-4C25F5561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D7CC54-EA4F-45AA-A816-9CDEA6CE0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7787409-C478-4701-9C5A-5868F7C833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1ACE91-1276-4D07-B2B9-12A9737B0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06999999999999</c:v>
                </c:pt>
                <c:pt idx="1">
                  <c:v>2.8250000000000002</c:v>
                </c:pt>
                <c:pt idx="2">
                  <c:v>2.5489000000000002</c:v>
                </c:pt>
                <c:pt idx="3">
                  <c:v>3.0783999999999998</c:v>
                </c:pt>
                <c:pt idx="4">
                  <c:v>2.7532000000000001</c:v>
                </c:pt>
                <c:pt idx="5">
                  <c:v>2.4512999999999998</c:v>
                </c:pt>
                <c:pt idx="6">
                  <c:v>2.3822999999999999</c:v>
                </c:pt>
                <c:pt idx="7">
                  <c:v>2.7042000000000002</c:v>
                </c:pt>
              </c:numCache>
            </c:numRef>
          </c:xVal>
          <c:yVal>
            <c:numRef>
              <c:f>Sheet1!$B$2:$B$9</c:f>
              <c:numCache>
                <c:formatCode>General</c:formatCode>
                <c:ptCount val="8"/>
                <c:pt idx="0">
                  <c:v>0.83699999999999997</c:v>
                </c:pt>
                <c:pt idx="1">
                  <c:v>1.06</c:v>
                </c:pt>
                <c:pt idx="2">
                  <c:v>1.0269999999999999</c:v>
                </c:pt>
                <c:pt idx="3">
                  <c:v>1.21</c:v>
                </c:pt>
                <c:pt idx="4">
                  <c:v>1.097</c:v>
                </c:pt>
                <c:pt idx="5">
                  <c:v>1.0129999999999999</c:v>
                </c:pt>
                <c:pt idx="6">
                  <c:v>1.3080000000000001</c:v>
                </c:pt>
                <c:pt idx="7">
                  <c:v>2.081</c:v>
                </c:pt>
              </c:numCache>
            </c:numRef>
          </c:yVal>
          <c:bubbleSize>
            <c:numRef>
              <c:f>Sheet1!$C$2:$C$9</c:f>
              <c:numCache>
                <c:formatCode>General</c:formatCode>
                <c:ptCount val="8"/>
                <c:pt idx="0">
                  <c:v>189926117</c:v>
                </c:pt>
                <c:pt idx="1">
                  <c:v>121518208</c:v>
                </c:pt>
                <c:pt idx="2">
                  <c:v>89789426</c:v>
                </c:pt>
                <c:pt idx="3">
                  <c:v>74872481</c:v>
                </c:pt>
                <c:pt idx="4">
                  <c:v>33885051</c:v>
                </c:pt>
                <c:pt idx="5">
                  <c:v>12291466</c:v>
                </c:pt>
                <c:pt idx="6">
                  <c:v>7337046</c:v>
                </c:pt>
                <c:pt idx="7">
                  <c:v>5799659</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Laita</c:v>
                  </c:pt>
                  <c:pt idx="6">
                    <c:v>Casa Azzurra</c:v>
                  </c:pt>
                  <c:pt idx="7">
                    <c:v>Ker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81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C5AB9B-D244-44F4-A5B8-07AF4B61E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E26069-5750-4B94-8F9B-1A6864B800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D32E52-E85C-4208-BB2A-E3CA4A31E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136E9B-60E7-49B0-BD69-E9C609F66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FD90BD4-9FB1-4F54-B476-2A88A92D7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B6C11CD-8485-4F66-8AA0-83BF196A3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04275B2-BAD3-4EC6-8CC9-B551DA1FB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B3D118D-BB9A-4A64-BA46-CCB785A39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044999999999998</c:v>
                </c:pt>
                <c:pt idx="1">
                  <c:v>2.1459999999999999</c:v>
                </c:pt>
                <c:pt idx="2">
                  <c:v>2.8138999999999998</c:v>
                </c:pt>
                <c:pt idx="3">
                  <c:v>3.5116999999999998</c:v>
                </c:pt>
              </c:numCache>
            </c:numRef>
          </c:xVal>
          <c:yVal>
            <c:numRef>
              <c:f>Sheet1!$B$2:$B$5</c:f>
              <c:numCache>
                <c:formatCode>General</c:formatCode>
                <c:ptCount val="4"/>
                <c:pt idx="0">
                  <c:v>0.93100000000000005</c:v>
                </c:pt>
                <c:pt idx="1">
                  <c:v>1.1000000000000001</c:v>
                </c:pt>
                <c:pt idx="2">
                  <c:v>1.34</c:v>
                </c:pt>
                <c:pt idx="3">
                  <c:v>1.55</c:v>
                </c:pt>
              </c:numCache>
            </c:numRef>
          </c:yVal>
          <c:bubbleSize>
            <c:numRef>
              <c:f>Sheet1!$C$2:$C$5</c:f>
              <c:numCache>
                <c:formatCode>General</c:formatCode>
                <c:ptCount val="4"/>
                <c:pt idx="0">
                  <c:v>145502087</c:v>
                </c:pt>
                <c:pt idx="1">
                  <c:v>40996160</c:v>
                </c:pt>
                <c:pt idx="2">
                  <c:v>14160014</c:v>
                </c:pt>
                <c:pt idx="3">
                  <c:v>3196808</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3425698-071C-41C3-B2CB-87C1A458B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21685A5-7C2A-4A1D-BB0D-D97375004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663B596-14DA-49A0-8ED2-1C0905E5B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7A1F6F12-E7BA-45D7-A795-3C6191616A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D826515-6611-430B-BA15-558C1ED28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72AFB11-19F5-4C7A-A490-1F28BB984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95F5C098-BD00-45D3-939A-10024DBD2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9A666ED0-B94A-460A-97B1-8451AFE9E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6396999999999999</c:v>
                </c:pt>
                <c:pt idx="1">
                  <c:v>2.0247000000000002</c:v>
                </c:pt>
                <c:pt idx="2">
                  <c:v>3.3784000000000001</c:v>
                </c:pt>
                <c:pt idx="3">
                  <c:v>2.8138999999999998</c:v>
                </c:pt>
                <c:pt idx="4">
                  <c:v>2.6101999999999999</c:v>
                </c:pt>
                <c:pt idx="5">
                  <c:v>5.2855999999999996</c:v>
                </c:pt>
              </c:numCache>
            </c:numRef>
          </c:xVal>
          <c:yVal>
            <c:numRef>
              <c:f>Sheet1!$B$2:$B$7</c:f>
              <c:numCache>
                <c:formatCode>General</c:formatCode>
                <c:ptCount val="6"/>
                <c:pt idx="0">
                  <c:v>0.873</c:v>
                </c:pt>
                <c:pt idx="1">
                  <c:v>1.04</c:v>
                </c:pt>
                <c:pt idx="2">
                  <c:v>1.736</c:v>
                </c:pt>
                <c:pt idx="3">
                  <c:v>1.34</c:v>
                </c:pt>
                <c:pt idx="4">
                  <c:v>1.341</c:v>
                </c:pt>
                <c:pt idx="5">
                  <c:v>1.528</c:v>
                </c:pt>
              </c:numCache>
            </c:numRef>
          </c:yVal>
          <c:bubbleSize>
            <c:numRef>
              <c:f>Sheet1!$C$2:$C$7</c:f>
              <c:numCache>
                <c:formatCode>General</c:formatCode>
                <c:ptCount val="6"/>
                <c:pt idx="0">
                  <c:v>127145345</c:v>
                </c:pt>
                <c:pt idx="1">
                  <c:v>30565706</c:v>
                </c:pt>
                <c:pt idx="2">
                  <c:v>18356742</c:v>
                </c:pt>
                <c:pt idx="3">
                  <c:v>14160014</c:v>
                </c:pt>
                <c:pt idx="4">
                  <c:v>10194513</c:v>
                </c:pt>
                <c:pt idx="5">
                  <c:v>215675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479A43-FE5D-41C2-99B5-F5295432A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FAB97A-8D30-4E6A-831D-3C3B9AF7A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14BD7D-7ADA-4FD4-8367-56DBDDDA1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037FE9-4362-4739-A27B-ACAF38A01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4F17B03-B963-4BDB-B828-381DC9B66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C896594-929C-42EF-9BEC-953B54383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6BBB662-4CAD-4255-B7E8-A2EE89F0E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32DEA9B-0632-43F7-A71D-B271A3369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7395999999999998</c:v>
                </c:pt>
                <c:pt idx="1">
                  <c:v>2.1937000000000002</c:v>
                </c:pt>
                <c:pt idx="2">
                  <c:v>3.0528</c:v>
                </c:pt>
                <c:pt idx="3">
                  <c:v>3.2208999999999999</c:v>
                </c:pt>
              </c:numCache>
            </c:numRef>
          </c:xVal>
          <c:yVal>
            <c:numRef>
              <c:f>Sheet1!$B$2:$B$5</c:f>
              <c:numCache>
                <c:formatCode>General</c:formatCode>
                <c:ptCount val="4"/>
                <c:pt idx="0">
                  <c:v>0.93600000000000005</c:v>
                </c:pt>
                <c:pt idx="1">
                  <c:v>1.0529999999999999</c:v>
                </c:pt>
                <c:pt idx="2">
                  <c:v>1.4810000000000001</c:v>
                </c:pt>
                <c:pt idx="3">
                  <c:v>1.732</c:v>
                </c:pt>
              </c:numCache>
            </c:numRef>
          </c:yVal>
          <c:bubbleSize>
            <c:numRef>
              <c:f>Sheet1!$C$2:$C$5</c:f>
              <c:numCache>
                <c:formatCode>General</c:formatCode>
                <c:ptCount val="4"/>
                <c:pt idx="0">
                  <c:v>27317488</c:v>
                </c:pt>
                <c:pt idx="1">
                  <c:v>7126451</c:v>
                </c:pt>
                <c:pt idx="2">
                  <c:v>2136150</c:v>
                </c:pt>
                <c:pt idx="3">
                  <c:v>823561</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EDDBD7-18D6-4EE5-B2E6-905DFCD36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03DBB6-ADD3-4FD0-82F3-B6D66F7CA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8838D6-3C9A-430F-908E-7AC7A88283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0FD822-E9B1-4AD2-AE5D-AB3EE2A69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F1AE8D5-DC84-47AA-A054-373895A6E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DA79427-09F2-4736-BFB3-B0BDD48F4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738B70D-918E-42CC-9169-BC4EC70E5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17B6CF5-C941-4949-AF3F-4C42BA580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850000000000001</c:v>
                </c:pt>
                <c:pt idx="1">
                  <c:v>2.3007</c:v>
                </c:pt>
                <c:pt idx="2">
                  <c:v>2.5989</c:v>
                </c:pt>
                <c:pt idx="3">
                  <c:v>2.8252000000000002</c:v>
                </c:pt>
              </c:numCache>
            </c:numRef>
          </c:xVal>
          <c:yVal>
            <c:numRef>
              <c:f>Sheet1!$B$2:$B$5</c:f>
              <c:numCache>
                <c:formatCode>General</c:formatCode>
                <c:ptCount val="4"/>
                <c:pt idx="0">
                  <c:v>0.96</c:v>
                </c:pt>
                <c:pt idx="1">
                  <c:v>1.1910000000000001</c:v>
                </c:pt>
                <c:pt idx="2">
                  <c:v>1.0129999999999999</c:v>
                </c:pt>
                <c:pt idx="3">
                  <c:v>0.81599999999999995</c:v>
                </c:pt>
              </c:numCache>
            </c:numRef>
          </c:yVal>
          <c:bubbleSize>
            <c:numRef>
              <c:f>Sheet1!$C$2:$C$5</c:f>
              <c:numCache>
                <c:formatCode>General</c:formatCode>
                <c:ptCount val="4"/>
                <c:pt idx="0">
                  <c:v>27546975</c:v>
                </c:pt>
                <c:pt idx="1">
                  <c:v>7399108</c:v>
                </c:pt>
                <c:pt idx="2">
                  <c:v>2642649</c:v>
                </c:pt>
                <c:pt idx="3">
                  <c:v>473706</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Entremon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C22C7E-942D-4CA2-8E15-1E7250D01B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BA2F82-6E46-407E-97EE-3C0B0F41A6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C178E0-C8A8-4980-BB4A-A7EEF5AEE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732FE17-70E0-4060-A9D8-5C488F254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3F9672-7FEE-48A6-8F10-00CF98558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5C634FB-403C-4A88-B424-44FF37C5F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22E60A2-F5B8-4558-B468-EFF66D47B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0D76964-E874-4E0F-B604-99AE70383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449999999999999</c:v>
                </c:pt>
                <c:pt idx="1">
                  <c:v>2.2690999999999999</c:v>
                </c:pt>
                <c:pt idx="2">
                  <c:v>2.0369000000000002</c:v>
                </c:pt>
                <c:pt idx="3">
                  <c:v>2.6968999999999999</c:v>
                </c:pt>
                <c:pt idx="4">
                  <c:v>2.6785000000000001</c:v>
                </c:pt>
              </c:numCache>
            </c:numRef>
          </c:xVal>
          <c:yVal>
            <c:numRef>
              <c:f>Sheet1!$B$2:$B$6</c:f>
              <c:numCache>
                <c:formatCode>General</c:formatCode>
                <c:ptCount val="5"/>
                <c:pt idx="0">
                  <c:v>0.85899999999999999</c:v>
                </c:pt>
                <c:pt idx="1">
                  <c:v>1.2050000000000001</c:v>
                </c:pt>
                <c:pt idx="2">
                  <c:v>1.206</c:v>
                </c:pt>
                <c:pt idx="3">
                  <c:v>2.4510000000000001</c:v>
                </c:pt>
                <c:pt idx="4">
                  <c:v>1.3320000000000001</c:v>
                </c:pt>
              </c:numCache>
            </c:numRef>
          </c:yVal>
          <c:bubbleSize>
            <c:numRef>
              <c:f>Sheet1!$C$2:$C$6</c:f>
              <c:numCache>
                <c:formatCode>General</c:formatCode>
                <c:ptCount val="5"/>
                <c:pt idx="0">
                  <c:v>77248377</c:v>
                </c:pt>
                <c:pt idx="1">
                  <c:v>46744152</c:v>
                </c:pt>
                <c:pt idx="2">
                  <c:v>8494332</c:v>
                </c:pt>
                <c:pt idx="3">
                  <c:v>1502633</c:v>
                </c:pt>
                <c:pt idx="4">
                  <c:v>1427623</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Bel</c:v>
                  </c:pt>
                  <c:pt idx="3">
                    <c:v>Savencia</c:v>
                  </c:pt>
                  <c:pt idx="4">
                    <c:v>Mille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65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F4A894-64A9-499D-A345-D6531B9BC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C6BF06-0094-485B-8C8C-9F6061C6B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37614B-4A51-4EFF-A13D-94967D05E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7F5466D-5BA1-476C-AD6D-633DB489C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EFD934F-1504-4B21-978B-EBFFAC2EA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1914EB6-6EBF-4212-A4EC-156FD4B9B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B2F7E7C-D1FA-4FB0-AF20-EF5B76626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56D8AC2-1545-4A2F-8AFF-8B565394D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009</c:v>
                </c:pt>
                <c:pt idx="1">
                  <c:v>2.2061000000000002</c:v>
                </c:pt>
                <c:pt idx="2">
                  <c:v>1.9009</c:v>
                </c:pt>
              </c:numCache>
            </c:numRef>
          </c:xVal>
          <c:yVal>
            <c:numRef>
              <c:f>Sheet1!$B$2:$B$4</c:f>
              <c:numCache>
                <c:formatCode>General</c:formatCode>
                <c:ptCount val="3"/>
                <c:pt idx="0">
                  <c:v>0.84699999999999998</c:v>
                </c:pt>
                <c:pt idx="1">
                  <c:v>1.214</c:v>
                </c:pt>
                <c:pt idx="2">
                  <c:v>1.137</c:v>
                </c:pt>
              </c:numCache>
            </c:numRef>
          </c:yVal>
          <c:bubbleSize>
            <c:numRef>
              <c:f>Sheet1!$C$2:$C$4</c:f>
              <c:numCache>
                <c:formatCode>General</c:formatCode>
                <c:ptCount val="3"/>
                <c:pt idx="0">
                  <c:v>8889711</c:v>
                </c:pt>
                <c:pt idx="1">
                  <c:v>5650276</c:v>
                </c:pt>
                <c:pt idx="2">
                  <c:v>2046452</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1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95B74E-7789-4489-B6EA-CB29AAF97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85A4FC-B2EA-4D23-A9E2-0B3BB14C0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D0B2BD-37C8-436E-8CAB-9DCBCEFDA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EDA173-F1FC-4DB0-A922-22BFF1D11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260C94D-94AD-4B66-9E00-40C94FC32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5B2BEFE-D638-42E5-91A5-E48DC6277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05331AB-EDF1-410F-832F-7597B82EF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5E226F1-DFEB-4601-A830-1688F1043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442000000000002</c:v>
                </c:pt>
                <c:pt idx="1">
                  <c:v>1.6062000000000001</c:v>
                </c:pt>
                <c:pt idx="2">
                  <c:v>2.6383000000000001</c:v>
                </c:pt>
                <c:pt idx="3">
                  <c:v>2.6158999999999999</c:v>
                </c:pt>
              </c:numCache>
            </c:numRef>
          </c:xVal>
          <c:yVal>
            <c:numRef>
              <c:f>Sheet1!$B$2:$B$5</c:f>
              <c:numCache>
                <c:formatCode>General</c:formatCode>
                <c:ptCount val="4"/>
                <c:pt idx="0">
                  <c:v>1.145</c:v>
                </c:pt>
                <c:pt idx="1">
                  <c:v>0.84</c:v>
                </c:pt>
                <c:pt idx="2">
                  <c:v>1.42</c:v>
                </c:pt>
                <c:pt idx="3">
                  <c:v>1.359</c:v>
                </c:pt>
              </c:numCache>
            </c:numRef>
          </c:yVal>
          <c:bubbleSize>
            <c:numRef>
              <c:f>Sheet1!$C$2:$C$5</c:f>
              <c:numCache>
                <c:formatCode>General</c:formatCode>
                <c:ptCount val="4"/>
                <c:pt idx="0">
                  <c:v>16391501</c:v>
                </c:pt>
                <c:pt idx="1">
                  <c:v>16108620</c:v>
                </c:pt>
                <c:pt idx="2">
                  <c:v>709954</c:v>
                </c:pt>
                <c:pt idx="3">
                  <c:v>454580</c:v>
                </c:pt>
              </c:numCache>
            </c:numRef>
          </c:bubbleSize>
          <c:bubble3D val="0"/>
          <c:extLst>
            <c:ext xmlns:c15="http://schemas.microsoft.com/office/drawing/2012/chart" uri="{02D57815-91ED-43cb-92C2-25804820EDAC}">
              <c15:datalabelsRange>
                <c15:f>Sheet1!$E$2:$E$10</c15:f>
                <c15:dlblRangeCache>
                  <c:ptCount val="9"/>
                  <c:pt idx="0">
                    <c:v>Lactalis</c:v>
                  </c:pt>
                  <c:pt idx="1">
                    <c:v>Mdd</c:v>
                  </c:pt>
                  <c:pt idx="2">
                    <c:v>Bel</c:v>
                  </c:pt>
                  <c:pt idx="3">
                    <c:v>Mille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9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9D8CE6-0F18-479C-AB5E-D42104303F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7BA7887-FCF9-4875-BA2F-72E66E5F2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F37A3F3-61D1-4E2A-836B-C85A299DD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41D4AD-F99C-4E72-A058-C7D1E6904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011AF64-7EEA-444F-8A83-C2DE58270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330BF52-F663-48FE-A604-06833D6B9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E0AB769-FA9B-4226-8501-2F7256006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FEB478F-8C9F-4587-97AE-2D1EA6D3C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654999999999998</c:v>
                </c:pt>
                <c:pt idx="1">
                  <c:v>2.2181000000000002</c:v>
                </c:pt>
                <c:pt idx="2">
                  <c:v>2.7117</c:v>
                </c:pt>
                <c:pt idx="3">
                  <c:v>3.2099000000000002</c:v>
                </c:pt>
              </c:numCache>
            </c:numRef>
          </c:xVal>
          <c:yVal>
            <c:numRef>
              <c:f>Sheet1!$B$2:$B$5</c:f>
              <c:numCache>
                <c:formatCode>General</c:formatCode>
                <c:ptCount val="4"/>
                <c:pt idx="0">
                  <c:v>1.093</c:v>
                </c:pt>
                <c:pt idx="1">
                  <c:v>0.64400000000000002</c:v>
                </c:pt>
                <c:pt idx="2">
                  <c:v>1.952</c:v>
                </c:pt>
                <c:pt idx="3">
                  <c:v>1.484</c:v>
                </c:pt>
              </c:numCache>
            </c:numRef>
          </c:yVal>
          <c:bubbleSize>
            <c:numRef>
              <c:f>Sheet1!$C$2:$C$5</c:f>
              <c:numCache>
                <c:formatCode>General</c:formatCode>
                <c:ptCount val="4"/>
                <c:pt idx="0">
                  <c:v>386088379</c:v>
                </c:pt>
                <c:pt idx="1">
                  <c:v>100313963</c:v>
                </c:pt>
                <c:pt idx="2">
                  <c:v>40963436</c:v>
                </c:pt>
                <c:pt idx="3">
                  <c:v>11185537</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9EDF69-6D15-45DA-81D5-42596B86C1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27347E-060F-41D9-ADD0-3315424FAD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7BEB0D-D7CE-48FA-8AC9-7A2B3DDFEC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15F04E-2FA7-4350-AC94-F10679B70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7F16C6E-D31A-4362-80D0-29570B7CA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0B29325-D20D-4C9B-999E-3FEB81BF7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8E070C-28F1-45AD-9324-B7E010CD7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825583C-12B4-4794-B26E-011CFBD52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364999999999999</c:v>
                </c:pt>
                <c:pt idx="1">
                  <c:v>2.3189000000000002</c:v>
                </c:pt>
                <c:pt idx="2">
                  <c:v>2.8247</c:v>
                </c:pt>
                <c:pt idx="3">
                  <c:v>3.0143</c:v>
                </c:pt>
              </c:numCache>
            </c:numRef>
          </c:xVal>
          <c:yVal>
            <c:numRef>
              <c:f>Sheet1!$B$2:$B$5</c:f>
              <c:numCache>
                <c:formatCode>General</c:formatCode>
                <c:ptCount val="4"/>
                <c:pt idx="0">
                  <c:v>0.998</c:v>
                </c:pt>
                <c:pt idx="1">
                  <c:v>0.69099999999999995</c:v>
                </c:pt>
                <c:pt idx="2">
                  <c:v>2.008</c:v>
                </c:pt>
                <c:pt idx="3">
                  <c:v>1.619</c:v>
                </c:pt>
              </c:numCache>
            </c:numRef>
          </c:yVal>
          <c:bubbleSize>
            <c:numRef>
              <c:f>Sheet1!$C$2:$C$5</c:f>
              <c:numCache>
                <c:formatCode>General</c:formatCode>
                <c:ptCount val="4"/>
                <c:pt idx="0">
                  <c:v>74315385</c:v>
                </c:pt>
                <c:pt idx="1">
                  <c:v>10731593</c:v>
                </c:pt>
                <c:pt idx="2">
                  <c:v>8292955</c:v>
                </c:pt>
                <c:pt idx="3">
                  <c:v>2021660</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0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FC7E413-131E-449C-BF87-B7F24360B9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B008443-ADAB-4C6D-9FD8-6C0839CBF5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F0F4EAD-583B-424C-A5C3-11CFAE53A5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6076CC-39DF-4802-8994-770A0C9F3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8D90266-A039-4F0E-9342-6DDC135A8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8F80EAB-0415-4B96-B058-A5D78B91E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69B51AA-16C4-402A-9C6B-764A159B0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4D73293-C44A-4933-94A7-2875E5BF7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3399000000000001</c:v>
                </c:pt>
                <c:pt idx="1">
                  <c:v>2.0585</c:v>
                </c:pt>
                <c:pt idx="2">
                  <c:v>2.7042000000000002</c:v>
                </c:pt>
                <c:pt idx="3">
                  <c:v>3.6595</c:v>
                </c:pt>
              </c:numCache>
            </c:numRef>
          </c:xVal>
          <c:yVal>
            <c:numRef>
              <c:f>Sheet1!$B$2:$B$5</c:f>
              <c:numCache>
                <c:formatCode>General</c:formatCode>
                <c:ptCount val="4"/>
                <c:pt idx="0">
                  <c:v>1.052</c:v>
                </c:pt>
                <c:pt idx="1">
                  <c:v>0.64100000000000001</c:v>
                </c:pt>
                <c:pt idx="2">
                  <c:v>1.871</c:v>
                </c:pt>
                <c:pt idx="3">
                  <c:v>1.278</c:v>
                </c:pt>
              </c:numCache>
            </c:numRef>
          </c:yVal>
          <c:bubbleSize>
            <c:numRef>
              <c:f>Sheet1!$C$2:$C$5</c:f>
              <c:numCache>
                <c:formatCode>General</c:formatCode>
                <c:ptCount val="4"/>
                <c:pt idx="0">
                  <c:v>58267866</c:v>
                </c:pt>
                <c:pt idx="1">
                  <c:v>10594194</c:v>
                </c:pt>
                <c:pt idx="2">
                  <c:v>5799659</c:v>
                </c:pt>
                <c:pt idx="3">
                  <c:v>1522946</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368D37-A311-4215-A990-BA0C11304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FDD4A0E-ABE7-4DD0-9DD2-966D2F4AA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416CB7-DDB6-4E62-B89D-E8BA7A5101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049858-61DC-4857-AF83-A98752646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395B272-980F-406B-8E9C-4935A3FDF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43A945-B524-4295-B76B-E9B28CED1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DDD94A1-DA01-4EE4-B624-F991F4A16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3FD4D3-56FF-476E-B44E-76E8FF24B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669</c:v>
                </c:pt>
                <c:pt idx="1">
                  <c:v>1.5004999999999999</c:v>
                </c:pt>
                <c:pt idx="2">
                  <c:v>2.4548999999999999</c:v>
                </c:pt>
                <c:pt idx="3">
                  <c:v>2.3610000000000002</c:v>
                </c:pt>
                <c:pt idx="4">
                  <c:v>2.6151</c:v>
                </c:pt>
                <c:pt idx="5">
                  <c:v>1.8693</c:v>
                </c:pt>
              </c:numCache>
            </c:numRef>
          </c:xVal>
          <c:yVal>
            <c:numRef>
              <c:f>Sheet1!$B$2:$B$7</c:f>
              <c:numCache>
                <c:formatCode>General</c:formatCode>
                <c:ptCount val="6"/>
                <c:pt idx="0">
                  <c:v>1.1399999999999999</c:v>
                </c:pt>
                <c:pt idx="1">
                  <c:v>0.68899999999999995</c:v>
                </c:pt>
                <c:pt idx="2">
                  <c:v>1.036</c:v>
                </c:pt>
                <c:pt idx="3">
                  <c:v>1.3440000000000001</c:v>
                </c:pt>
                <c:pt idx="4">
                  <c:v>1.0780000000000001</c:v>
                </c:pt>
                <c:pt idx="5">
                  <c:v>1.1970000000000001</c:v>
                </c:pt>
              </c:numCache>
            </c:numRef>
          </c:yVal>
          <c:bubbleSize>
            <c:numRef>
              <c:f>Sheet1!$C$2:$C$7</c:f>
              <c:numCache>
                <c:formatCode>General</c:formatCode>
                <c:ptCount val="6"/>
                <c:pt idx="0">
                  <c:v>311805774</c:v>
                </c:pt>
                <c:pt idx="1">
                  <c:v>139659774</c:v>
                </c:pt>
                <c:pt idx="2">
                  <c:v>89376920</c:v>
                </c:pt>
                <c:pt idx="3">
                  <c:v>75735671</c:v>
                </c:pt>
                <c:pt idx="4">
                  <c:v>30462743</c:v>
                </c:pt>
                <c:pt idx="5">
                  <c:v>13050020</c:v>
                </c:pt>
              </c:numCache>
            </c:numRef>
          </c:bubbleSize>
          <c:bubble3D val="0"/>
          <c:extLst>
            <c:ext xmlns:c15="http://schemas.microsoft.com/office/drawing/2012/chart" uri="{02D57815-91ED-43cb-92C2-25804820EDAC}">
              <c15:datalabelsRange>
                <c15:f>Sheet1!$E$2:$E$10</c15:f>
                <c15:dlblRangeCache>
                  <c:ptCount val="9"/>
                  <c:pt idx="0">
                    <c:v>Savencia</c:v>
                  </c:pt>
                  <c:pt idx="1">
                    <c:v>Mdd</c:v>
                  </c:pt>
                  <c:pt idx="2">
                    <c:v>Laita</c:v>
                  </c:pt>
                  <c:pt idx="3">
                    <c:v>Bel</c:v>
                  </c:pt>
                  <c:pt idx="4">
                    <c:v>Mondelez</c:v>
                  </c:pt>
                  <c:pt idx="5">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C20377-96A6-4CFD-B161-950707956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BF7E56-2351-4321-A708-6E164D0DB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DB2F01-54C0-49F9-859E-F7F40BC44E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ACD011-3A8C-4678-B714-3489275B40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29869D7-06BA-4EF8-A25E-8DD855AC2B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964A27-3DA4-40BF-9ADB-53E614BE4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F87381D-DD5E-480D-A6DE-1BA64D805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F27A010-6544-46A5-802E-2A8BED578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7488000000000001</c:v>
                </c:pt>
                <c:pt idx="1">
                  <c:v>1.6611</c:v>
                </c:pt>
                <c:pt idx="2">
                  <c:v>2.5202</c:v>
                </c:pt>
                <c:pt idx="3">
                  <c:v>2.4275000000000002</c:v>
                </c:pt>
                <c:pt idx="4">
                  <c:v>2.7534999999999998</c:v>
                </c:pt>
                <c:pt idx="5">
                  <c:v>1.9021999999999999</c:v>
                </c:pt>
              </c:numCache>
            </c:numRef>
          </c:xVal>
          <c:yVal>
            <c:numRef>
              <c:f>Sheet1!$B$2:$B$7</c:f>
              <c:numCache>
                <c:formatCode>General</c:formatCode>
                <c:ptCount val="6"/>
                <c:pt idx="0">
                  <c:v>1.1060000000000001</c:v>
                </c:pt>
                <c:pt idx="1">
                  <c:v>0.69099999999999995</c:v>
                </c:pt>
                <c:pt idx="2">
                  <c:v>0.98799999999999999</c:v>
                </c:pt>
                <c:pt idx="3">
                  <c:v>1.284</c:v>
                </c:pt>
                <c:pt idx="4">
                  <c:v>1.0469999999999999</c:v>
                </c:pt>
                <c:pt idx="5">
                  <c:v>1.0980000000000001</c:v>
                </c:pt>
              </c:numCache>
            </c:numRef>
          </c:yVal>
          <c:bubbleSize>
            <c:numRef>
              <c:f>Sheet1!$C$2:$C$7</c:f>
              <c:numCache>
                <c:formatCode>General</c:formatCode>
                <c:ptCount val="6"/>
                <c:pt idx="0">
                  <c:v>52942622</c:v>
                </c:pt>
                <c:pt idx="1">
                  <c:v>16850297</c:v>
                </c:pt>
                <c:pt idx="2">
                  <c:v>16146099</c:v>
                </c:pt>
                <c:pt idx="3">
                  <c:v>13791858</c:v>
                </c:pt>
                <c:pt idx="4">
                  <c:v>8119796</c:v>
                </c:pt>
                <c:pt idx="5">
                  <c:v>2324858</c:v>
                </c:pt>
              </c:numCache>
            </c:numRef>
          </c:bubbleSize>
          <c:bubble3D val="0"/>
          <c:extLst>
            <c:ext xmlns:c15="http://schemas.microsoft.com/office/drawing/2012/chart" uri="{02D57815-91ED-43cb-92C2-25804820EDAC}">
              <c15:datalabelsRange>
                <c15:f>Sheet1!$E$2:$E$10</c15:f>
                <c15:dlblRangeCache>
                  <c:ptCount val="9"/>
                  <c:pt idx="0">
                    <c:v>Savencia</c:v>
                  </c:pt>
                  <c:pt idx="1">
                    <c:v>Mdd</c:v>
                  </c:pt>
                  <c:pt idx="2">
                    <c:v>Laita</c:v>
                  </c:pt>
                  <c:pt idx="3">
                    <c:v>Bel</c:v>
                  </c:pt>
                  <c:pt idx="4">
                    <c:v>Mondelez</c:v>
                  </c:pt>
                  <c:pt idx="5">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1F60B6F-C4A1-4BC8-B9A6-77CBBD0D2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1E1AEBB-540C-4037-A8FF-63173E90C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CFC6470-FC62-45FA-A0CE-F89362D4A5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3EB621A-48D0-46A2-8ED6-EE1BAA6B5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7EF3C307-2A41-4485-A036-C5DA955BF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F5FB8A1-24BD-4748-B6DE-CC2738D49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9240910-2E79-4470-9982-FD67317A7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6E6A9DD-65CD-4D9E-98C8-129DA9291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449999999999999</c:v>
                </c:pt>
                <c:pt idx="1">
                  <c:v>2.0207000000000002</c:v>
                </c:pt>
                <c:pt idx="2">
                  <c:v>3.448</c:v>
                </c:pt>
                <c:pt idx="3">
                  <c:v>1.873</c:v>
                </c:pt>
                <c:pt idx="4">
                  <c:v>3.58</c:v>
                </c:pt>
                <c:pt idx="5">
                  <c:v>2.5432000000000001</c:v>
                </c:pt>
              </c:numCache>
            </c:numRef>
          </c:xVal>
          <c:yVal>
            <c:numRef>
              <c:f>Sheet1!$B$2:$B$7</c:f>
              <c:numCache>
                <c:formatCode>General</c:formatCode>
                <c:ptCount val="6"/>
                <c:pt idx="0">
                  <c:v>0.85899999999999999</c:v>
                </c:pt>
                <c:pt idx="1">
                  <c:v>1.1160000000000001</c:v>
                </c:pt>
                <c:pt idx="2">
                  <c:v>1.526</c:v>
                </c:pt>
                <c:pt idx="3">
                  <c:v>1.145</c:v>
                </c:pt>
                <c:pt idx="4">
                  <c:v>1.4239999999999999</c:v>
                </c:pt>
                <c:pt idx="5">
                  <c:v>1.3720000000000001</c:v>
                </c:pt>
              </c:numCache>
            </c:numRef>
          </c:yVal>
          <c:bubbleSize>
            <c:numRef>
              <c:f>Sheet1!$C$2:$C$7</c:f>
              <c:numCache>
                <c:formatCode>General</c:formatCode>
                <c:ptCount val="6"/>
                <c:pt idx="0">
                  <c:v>77248377</c:v>
                </c:pt>
                <c:pt idx="1">
                  <c:v>34203912</c:v>
                </c:pt>
                <c:pt idx="2">
                  <c:v>8572561</c:v>
                </c:pt>
                <c:pt idx="3">
                  <c:v>5901619</c:v>
                </c:pt>
                <c:pt idx="4">
                  <c:v>2984383</c:v>
                </c:pt>
                <c:pt idx="5">
                  <c:v>259271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La Vache Qui Rit</c:v>
                  </c:pt>
                  <c:pt idx="4">
                    <c:v>Raguin</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5403E4-56EE-4DC0-B772-64225C315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D3C119-8AD9-42F1-BACA-F6F618600C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63A9F5A-DBF1-4228-9B83-0FF11EB118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E1577F8-67B9-457E-8539-4C9210F4E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B1F6D15-B951-4B92-9288-2BFC2CA64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9C6CC76-F8CA-458C-A996-9D645BB57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408682C-B4E1-473C-A920-307EDED6B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FE1D5D0-0618-44AE-8842-226784AF9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113999999999998</c:v>
                </c:pt>
                <c:pt idx="1">
                  <c:v>2.4247999999999998</c:v>
                </c:pt>
                <c:pt idx="2">
                  <c:v>1.4523999999999999</c:v>
                </c:pt>
                <c:pt idx="3">
                  <c:v>2.4521999999999999</c:v>
                </c:pt>
                <c:pt idx="4">
                  <c:v>2.4449999999999998</c:v>
                </c:pt>
              </c:numCache>
            </c:numRef>
          </c:xVal>
          <c:yVal>
            <c:numRef>
              <c:f>Sheet1!$B$2:$B$6</c:f>
              <c:numCache>
                <c:formatCode>General</c:formatCode>
                <c:ptCount val="5"/>
                <c:pt idx="0">
                  <c:v>1.0900000000000001</c:v>
                </c:pt>
                <c:pt idx="1">
                  <c:v>1.2869999999999999</c:v>
                </c:pt>
                <c:pt idx="2">
                  <c:v>0.67800000000000005</c:v>
                </c:pt>
                <c:pt idx="3">
                  <c:v>0.97599999999999998</c:v>
                </c:pt>
                <c:pt idx="4">
                  <c:v>0.96699999999999997</c:v>
                </c:pt>
              </c:numCache>
            </c:numRef>
          </c:yVal>
          <c:bubbleSize>
            <c:numRef>
              <c:f>Sheet1!$C$2:$C$6</c:f>
              <c:numCache>
                <c:formatCode>General</c:formatCode>
                <c:ptCount val="5"/>
                <c:pt idx="0">
                  <c:v>49191517</c:v>
                </c:pt>
                <c:pt idx="1">
                  <c:v>14810297</c:v>
                </c:pt>
                <c:pt idx="2">
                  <c:v>14481315</c:v>
                </c:pt>
                <c:pt idx="3">
                  <c:v>12117994</c:v>
                </c:pt>
                <c:pt idx="4">
                  <c:v>3949392</c:v>
                </c:pt>
              </c:numCache>
            </c:numRef>
          </c:bubbleSize>
          <c:bubble3D val="0"/>
          <c:extLst>
            <c:ext xmlns:c15="http://schemas.microsoft.com/office/drawing/2012/chart" uri="{02D57815-91ED-43cb-92C2-25804820EDAC}">
              <c15:datalabelsRange>
                <c15:f>Sheet1!$E$2:$E$10</c15:f>
                <c15:dlblRangeCache>
                  <c:ptCount val="9"/>
                  <c:pt idx="0">
                    <c:v>Savencia</c:v>
                  </c:pt>
                  <c:pt idx="1">
                    <c:v>Bel</c:v>
                  </c:pt>
                  <c:pt idx="2">
                    <c:v>Mdd</c:v>
                  </c:pt>
                  <c:pt idx="3">
                    <c:v>Laita</c:v>
                  </c:pt>
                  <c:pt idx="4">
                    <c:v>Mondele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A3A48F-5F86-4F97-A455-F3807449EA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835684-D8DF-4D37-AC52-F82BC2DAE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AB5A14-CC12-4C17-9782-FA4A78761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70F7E5-5D65-4324-820D-D1052C443A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4E2A2F-FC23-4520-B4E1-6DA70FB53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79320BC-DE32-40BE-B629-92F31D28A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B81959D-2AEE-4BC5-95CB-4CE4F68A7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006BF5-D04A-4EE3-A797-E97905966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9124000000000001</c:v>
                </c:pt>
                <c:pt idx="1">
                  <c:v>2.4342000000000001</c:v>
                </c:pt>
                <c:pt idx="2">
                  <c:v>2.2101999999999999</c:v>
                </c:pt>
                <c:pt idx="3">
                  <c:v>2.7967</c:v>
                </c:pt>
                <c:pt idx="4">
                  <c:v>2.2454000000000001</c:v>
                </c:pt>
              </c:numCache>
            </c:numRef>
          </c:xVal>
          <c:yVal>
            <c:numRef>
              <c:f>Sheet1!$B$2:$B$6</c:f>
              <c:numCache>
                <c:formatCode>General</c:formatCode>
                <c:ptCount val="5"/>
                <c:pt idx="0">
                  <c:v>0.91200000000000003</c:v>
                </c:pt>
                <c:pt idx="1">
                  <c:v>1.05</c:v>
                </c:pt>
                <c:pt idx="2">
                  <c:v>1.1659999999999999</c:v>
                </c:pt>
                <c:pt idx="3">
                  <c:v>1.51</c:v>
                </c:pt>
                <c:pt idx="4">
                  <c:v>1.5149999999999999</c:v>
                </c:pt>
              </c:numCache>
            </c:numRef>
          </c:yVal>
          <c:bubbleSize>
            <c:numRef>
              <c:f>Sheet1!$C$2:$C$6</c:f>
              <c:numCache>
                <c:formatCode>General</c:formatCode>
                <c:ptCount val="5"/>
                <c:pt idx="0">
                  <c:v>648086880</c:v>
                </c:pt>
                <c:pt idx="1">
                  <c:v>198807792</c:v>
                </c:pt>
                <c:pt idx="2">
                  <c:v>81358477</c:v>
                </c:pt>
                <c:pt idx="3">
                  <c:v>18299013</c:v>
                </c:pt>
                <c:pt idx="4">
                  <c:v>11870220</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F2DD79-9700-4539-80BC-A5D8C03D7A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E5B58A-BBB3-4128-B546-4BD22B59B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E4EDF70-9A23-4F85-B50B-ECA04D9BE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331550-D16C-4A14-B103-60B46943B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C99007-151B-45F2-93D1-D5D63CB1A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0C6BC03-FE34-4483-B456-73CFF7B4F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3EB20DA-E0CE-47ED-91FF-307A0F3D5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EAE9519-48F9-4B49-9ADD-B3885D0C8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1006</c:v>
                </c:pt>
                <c:pt idx="1">
                  <c:v>2.4796999999999998</c:v>
                </c:pt>
                <c:pt idx="2">
                  <c:v>2.3689</c:v>
                </c:pt>
                <c:pt idx="3">
                  <c:v>2.7690999999999999</c:v>
                </c:pt>
                <c:pt idx="4">
                  <c:v>2.2364000000000002</c:v>
                </c:pt>
              </c:numCache>
            </c:numRef>
          </c:xVal>
          <c:yVal>
            <c:numRef>
              <c:f>Sheet1!$B$2:$B$6</c:f>
              <c:numCache>
                <c:formatCode>General</c:formatCode>
                <c:ptCount val="5"/>
                <c:pt idx="0">
                  <c:v>0.91800000000000004</c:v>
                </c:pt>
                <c:pt idx="1">
                  <c:v>0.98599999999999999</c:v>
                </c:pt>
                <c:pt idx="2">
                  <c:v>1.1519999999999999</c:v>
                </c:pt>
                <c:pt idx="3">
                  <c:v>1.3879999999999999</c:v>
                </c:pt>
                <c:pt idx="4">
                  <c:v>1.403</c:v>
                </c:pt>
              </c:numCache>
            </c:numRef>
          </c:yVal>
          <c:bubbleSize>
            <c:numRef>
              <c:f>Sheet1!$C$2:$C$6</c:f>
              <c:numCache>
                <c:formatCode>General</c:formatCode>
                <c:ptCount val="5"/>
                <c:pt idx="0">
                  <c:v>111360239</c:v>
                </c:pt>
                <c:pt idx="1">
                  <c:v>33077245</c:v>
                </c:pt>
                <c:pt idx="2">
                  <c:v>15744363</c:v>
                </c:pt>
                <c:pt idx="3">
                  <c:v>3748285</c:v>
                </c:pt>
                <c:pt idx="4">
                  <c:v>3196825</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A9F98B-A6B9-41F4-B9E6-2B0D20A73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764EB55-169A-4632-88BB-46EF33432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811E04-7EDE-4903-9474-089324F68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010E65-2C4B-462A-9636-F816C169F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DE400B6-0C47-4C9D-8F9E-8520B5241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48378AA-790F-4005-9703-1C695E991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35DB627-1174-4921-A5F1-9DD8210DB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49986B3-ED60-42D4-9F54-8B77630BD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8496999999999999</c:v>
                </c:pt>
                <c:pt idx="1">
                  <c:v>2.4710999999999999</c:v>
                </c:pt>
                <c:pt idx="2">
                  <c:v>2.3822999999999999</c:v>
                </c:pt>
                <c:pt idx="3">
                  <c:v>2.8946000000000001</c:v>
                </c:pt>
                <c:pt idx="4">
                  <c:v>2.3374000000000001</c:v>
                </c:pt>
              </c:numCache>
            </c:numRef>
          </c:xVal>
          <c:yVal>
            <c:numRef>
              <c:f>Sheet1!$B$2:$B$6</c:f>
              <c:numCache>
                <c:formatCode>General</c:formatCode>
                <c:ptCount val="5"/>
                <c:pt idx="0">
                  <c:v>0.89100000000000001</c:v>
                </c:pt>
                <c:pt idx="1">
                  <c:v>1.1000000000000001</c:v>
                </c:pt>
                <c:pt idx="2">
                  <c:v>1.2410000000000001</c:v>
                </c:pt>
                <c:pt idx="3">
                  <c:v>1.6279999999999999</c:v>
                </c:pt>
                <c:pt idx="4">
                  <c:v>1.645</c:v>
                </c:pt>
              </c:numCache>
            </c:numRef>
          </c:yVal>
          <c:bubbleSize>
            <c:numRef>
              <c:f>Sheet1!$C$2:$C$6</c:f>
              <c:numCache>
                <c:formatCode>General</c:formatCode>
                <c:ptCount val="5"/>
                <c:pt idx="0">
                  <c:v>70217825</c:v>
                </c:pt>
                <c:pt idx="1">
                  <c:v>34039289</c:v>
                </c:pt>
                <c:pt idx="2">
                  <c:v>7337046</c:v>
                </c:pt>
                <c:pt idx="3">
                  <c:v>2911001</c:v>
                </c:pt>
                <c:pt idx="4">
                  <c:v>1794318</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4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1058.4000000000001</c:v>
                </c:pt>
                <c:pt idx="1">
                  <c:v>11.9</c:v>
                </c:pt>
                <c:pt idx="2">
                  <c:v>668.4</c:v>
                </c:pt>
                <c:pt idx="3">
                  <c:v>75.7</c:v>
                </c:pt>
                <c:pt idx="4">
                  <c:v>541.5</c:v>
                </c:pt>
                <c:pt idx="5">
                  <c:v>386.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4.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85CB-4FE7-A8BF-E217979C5F7D}"/>
                </c:ext>
              </c:extLst>
            </c:dLbl>
            <c:dLbl>
              <c:idx val="5"/>
              <c:tx>
                <c:rich>
                  <a:bodyPr/>
                  <a:lstStyle/>
                  <a:p>
                    <a:r>
                      <a:t>12.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5CB-4FE7-A8BF-E217979C5F7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2.3523</c:v>
                </c:pt>
                <c:pt idx="1">
                  <c:v>18.715699999999998</c:v>
                </c:pt>
                <c:pt idx="2">
                  <c:v>11.0937</c:v>
                </c:pt>
                <c:pt idx="3">
                  <c:v>14.914300000000001</c:v>
                </c:pt>
                <c:pt idx="4">
                  <c:v>11.6403</c:v>
                </c:pt>
                <c:pt idx="5">
                  <c:v>12.7174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191.4</c:v>
                </c:pt>
                <c:pt idx="1">
                  <c:v>3.2</c:v>
                </c:pt>
                <c:pt idx="2">
                  <c:v>111.9</c:v>
                </c:pt>
                <c:pt idx="3">
                  <c:v>13.8</c:v>
                </c:pt>
                <c:pt idx="4">
                  <c:v>95.4</c:v>
                </c:pt>
                <c:pt idx="5">
                  <c:v>74.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97E3-44C3-BA6E-57A82DBC3E97}"/>
                </c:ext>
              </c:extLst>
            </c:dLbl>
            <c:dLbl>
              <c:idx val="5"/>
              <c:tx>
                <c:rich>
                  <a:bodyPr/>
                  <a:lstStyle/>
                  <a:p>
                    <a:r>
                      <a:t>1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7E3-44C3-BA6E-57A82DBC3E9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3.3095</c:v>
                </c:pt>
                <c:pt idx="1">
                  <c:v>18.670000000000002</c:v>
                </c:pt>
                <c:pt idx="2">
                  <c:v>12.0724</c:v>
                </c:pt>
                <c:pt idx="3">
                  <c:v>15.504799999999999</c:v>
                </c:pt>
                <c:pt idx="4">
                  <c:v>11.825200000000001</c:v>
                </c:pt>
                <c:pt idx="5">
                  <c:v>11.8036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121.7</c:v>
                </c:pt>
                <c:pt idx="1">
                  <c:v>1.8</c:v>
                </c:pt>
                <c:pt idx="2">
                  <c:v>95</c:v>
                </c:pt>
                <c:pt idx="3">
                  <c:v>14.8</c:v>
                </c:pt>
                <c:pt idx="4">
                  <c:v>76.2</c:v>
                </c:pt>
                <c:pt idx="5">
                  <c:v>58.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653C-4918-9F84-6D8E61216C7C}"/>
                </c:ext>
              </c:extLst>
            </c:dLbl>
            <c:dLbl>
              <c:idx val="5"/>
              <c:tx>
                <c:rich>
                  <a:bodyPr/>
                  <a:lstStyle/>
                  <a:p>
                    <a:r>
                      <a:t>13.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653C-4918-9F84-6D8E61216C7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1.8794</c:v>
                </c:pt>
                <c:pt idx="1">
                  <c:v>19.544699999999999</c:v>
                </c:pt>
                <c:pt idx="2">
                  <c:v>11.7378</c:v>
                </c:pt>
                <c:pt idx="3">
                  <c:v>15.1084</c:v>
                </c:pt>
                <c:pt idx="4">
                  <c:v>12.538</c:v>
                </c:pt>
                <c:pt idx="5">
                  <c:v>13.193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1058.4000000000001</c:v>
                </c:pt>
                <c:pt idx="1">
                  <c:v>0</c:v>
                </c:pt>
                <c:pt idx="2">
                  <c:v>668.4</c:v>
                </c:pt>
                <c:pt idx="3">
                  <c:v>5.8</c:v>
                </c:pt>
                <c:pt idx="4">
                  <c:v>541.5</c:v>
                </c:pt>
                <c:pt idx="5">
                  <c:v>109.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6.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F528-42CE-92AC-9EF6C8DBFD6B}"/>
                </c:ext>
              </c:extLst>
            </c:dLbl>
            <c:dLbl>
              <c:idx val="5"/>
              <c:tx>
                <c:rich>
                  <a:bodyPr/>
                  <a:lstStyle/>
                  <a:p>
                    <a:r>
                      <a:t>1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F528-42CE-92AC-9EF6C8DBFD6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2.3523</c:v>
                </c:pt>
                <c:pt idx="1">
                  <c:v>0</c:v>
                </c:pt>
                <c:pt idx="2">
                  <c:v>11.0937</c:v>
                </c:pt>
                <c:pt idx="3">
                  <c:v>16.807700000000001</c:v>
                </c:pt>
                <c:pt idx="4">
                  <c:v>11.6403</c:v>
                </c:pt>
                <c:pt idx="5">
                  <c:v>12.8524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1058.4000000000001</c:v>
                </c:pt>
                <c:pt idx="1">
                  <c:v>0</c:v>
                </c:pt>
                <c:pt idx="2">
                  <c:v>668.4</c:v>
                </c:pt>
                <c:pt idx="3">
                  <c:v>0</c:v>
                </c:pt>
                <c:pt idx="4">
                  <c:v>541.5</c:v>
                </c:pt>
                <c:pt idx="5">
                  <c:v>14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8.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3C6-4BAC-9B20-D66412D14E0E}"/>
                </c:ext>
              </c:extLst>
            </c:dLbl>
            <c:dLbl>
              <c:idx val="5"/>
              <c:tx>
                <c:rich>
                  <a:bodyPr/>
                  <a:lstStyle/>
                  <a:p>
                    <a:r>
                      <a:t>10.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3C6-4BAC-9B20-D66412D14E0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2.3523</c:v>
                </c:pt>
                <c:pt idx="1">
                  <c:v>0</c:v>
                </c:pt>
                <c:pt idx="2">
                  <c:v>11.0937</c:v>
                </c:pt>
                <c:pt idx="3">
                  <c:v>8.8888999999999996</c:v>
                </c:pt>
                <c:pt idx="4">
                  <c:v>11.6403</c:v>
                </c:pt>
                <c:pt idx="5">
                  <c:v>10.3515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1058.4000000000001</c:v>
                </c:pt>
                <c:pt idx="1">
                  <c:v>11.9</c:v>
                </c:pt>
                <c:pt idx="2">
                  <c:v>668.4</c:v>
                </c:pt>
                <c:pt idx="3">
                  <c:v>69.900000000000006</c:v>
                </c:pt>
                <c:pt idx="4">
                  <c:v>541.5</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8C21-42EF-B2C9-E57DEB4A141D}"/>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C21-42EF-B2C9-E57DEB4A141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2.3523</c:v>
                </c:pt>
                <c:pt idx="1">
                  <c:v>18.715699999999998</c:v>
                </c:pt>
                <c:pt idx="2">
                  <c:v>11.0937</c:v>
                </c:pt>
                <c:pt idx="3">
                  <c:v>14.7752</c:v>
                </c:pt>
                <c:pt idx="4">
                  <c:v>11.6403</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7CB593-C449-4C37-AE42-5AABA4478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720A03-7BFC-47B1-B63E-64893EFC4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3A0EB2-08BE-4860-9829-84DF863FE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F45A6A-EE65-4097-8266-2A28E41D7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11FC59-66E2-4EA4-A241-1DCF1580D1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6FEE26-2E7B-4CCF-9892-C041B3E3CA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06C07B-32A4-4A92-8E84-36AC613BA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617516-46AF-403C-B59A-607E1C732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9</c:v>
                </c:pt>
                <c:pt idx="1">
                  <c:v>2.3527999999999998</c:v>
                </c:pt>
                <c:pt idx="2">
                  <c:v>2.8315000000000001</c:v>
                </c:pt>
                <c:pt idx="3">
                  <c:v>3.2755999999999998</c:v>
                </c:pt>
                <c:pt idx="4">
                  <c:v>3.0144000000000002</c:v>
                </c:pt>
                <c:pt idx="5">
                  <c:v>3.2692000000000001</c:v>
                </c:pt>
                <c:pt idx="6">
                  <c:v>2.9653</c:v>
                </c:pt>
                <c:pt idx="7">
                  <c:v>2.3641999999999999</c:v>
                </c:pt>
              </c:numCache>
            </c:numRef>
          </c:xVal>
          <c:yVal>
            <c:numRef>
              <c:f>Sheet1!$B$2:$B$9</c:f>
              <c:numCache>
                <c:formatCode>General</c:formatCode>
                <c:ptCount val="8"/>
                <c:pt idx="0">
                  <c:v>0.88500000000000001</c:v>
                </c:pt>
                <c:pt idx="1">
                  <c:v>0.77700000000000002</c:v>
                </c:pt>
                <c:pt idx="2">
                  <c:v>1.0529999999999999</c:v>
                </c:pt>
                <c:pt idx="3">
                  <c:v>1.1479999999999999</c:v>
                </c:pt>
                <c:pt idx="4">
                  <c:v>1.137</c:v>
                </c:pt>
                <c:pt idx="5">
                  <c:v>0.80200000000000005</c:v>
                </c:pt>
                <c:pt idx="6">
                  <c:v>1.04</c:v>
                </c:pt>
                <c:pt idx="7">
                  <c:v>1.3220000000000001</c:v>
                </c:pt>
              </c:numCache>
            </c:numRef>
          </c:yVal>
          <c:bubbleSize>
            <c:numRef>
              <c:f>Sheet1!$C$2:$C$9</c:f>
              <c:numCache>
                <c:formatCode>General</c:formatCode>
                <c:ptCount val="8"/>
                <c:pt idx="0">
                  <c:v>263392264</c:v>
                </c:pt>
                <c:pt idx="1">
                  <c:v>39509333</c:v>
                </c:pt>
                <c:pt idx="2">
                  <c:v>34407631</c:v>
                </c:pt>
                <c:pt idx="3">
                  <c:v>32529804</c:v>
                </c:pt>
                <c:pt idx="4">
                  <c:v>30956719</c:v>
                </c:pt>
                <c:pt idx="5">
                  <c:v>30468388</c:v>
                </c:pt>
                <c:pt idx="6">
                  <c:v>22816387</c:v>
                </c:pt>
                <c:pt idx="7">
                  <c:v>1540549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191.4</c:v>
                </c:pt>
                <c:pt idx="1">
                  <c:v>0</c:v>
                </c:pt>
                <c:pt idx="2">
                  <c:v>111.9</c:v>
                </c:pt>
                <c:pt idx="3">
                  <c:v>1.6</c:v>
                </c:pt>
                <c:pt idx="4">
                  <c:v>95.4</c:v>
                </c:pt>
                <c:pt idx="5">
                  <c:v>2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7.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2D8D-45E1-85FD-4B3A2E3226A8}"/>
                </c:ext>
              </c:extLst>
            </c:dLbl>
            <c:dLbl>
              <c:idx val="5"/>
              <c:tx>
                <c:rich>
                  <a:bodyPr/>
                  <a:lstStyle/>
                  <a:p>
                    <a:r>
                      <a:t>12.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2D8D-45E1-85FD-4B3A2E3226A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3.3095</c:v>
                </c:pt>
                <c:pt idx="1">
                  <c:v>0</c:v>
                </c:pt>
                <c:pt idx="2">
                  <c:v>12.0724</c:v>
                </c:pt>
                <c:pt idx="3">
                  <c:v>17.313099999999999</c:v>
                </c:pt>
                <c:pt idx="4">
                  <c:v>11.825200000000001</c:v>
                </c:pt>
                <c:pt idx="5">
                  <c:v>12.2512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191.4</c:v>
                </c:pt>
                <c:pt idx="1">
                  <c:v>0</c:v>
                </c:pt>
                <c:pt idx="2">
                  <c:v>111.9</c:v>
                </c:pt>
                <c:pt idx="3">
                  <c:v>0</c:v>
                </c:pt>
                <c:pt idx="4">
                  <c:v>95.4</c:v>
                </c:pt>
                <c:pt idx="5">
                  <c:v>3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8.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953D-4A4B-ADB8-F9D5CB69AE3F}"/>
                </c:ext>
              </c:extLst>
            </c:dLbl>
            <c:dLbl>
              <c:idx val="5"/>
              <c:tx>
                <c:rich>
                  <a:bodyPr/>
                  <a:lstStyle/>
                  <a:p>
                    <a:r>
                      <a:t>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53D-4A4B-ADB8-F9D5CB69AE3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3.3095</c:v>
                </c:pt>
                <c:pt idx="1">
                  <c:v>0</c:v>
                </c:pt>
                <c:pt idx="2">
                  <c:v>12.0724</c:v>
                </c:pt>
                <c:pt idx="3">
                  <c:v>8.8888999999999996</c:v>
                </c:pt>
                <c:pt idx="4">
                  <c:v>11.825200000000001</c:v>
                </c:pt>
                <c:pt idx="5">
                  <c:v>9.641400000000000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191.4</c:v>
                </c:pt>
                <c:pt idx="1">
                  <c:v>3.2</c:v>
                </c:pt>
                <c:pt idx="2">
                  <c:v>111.9</c:v>
                </c:pt>
                <c:pt idx="3">
                  <c:v>12.2</c:v>
                </c:pt>
                <c:pt idx="4">
                  <c:v>95.4</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D0D8-4B46-A5FC-0A27D08BD16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D0D8-4B46-A5FC-0A27D08BD16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3.3095</c:v>
                </c:pt>
                <c:pt idx="1">
                  <c:v>18.670000000000002</c:v>
                </c:pt>
                <c:pt idx="2">
                  <c:v>12.0724</c:v>
                </c:pt>
                <c:pt idx="3">
                  <c:v>15.297700000000001</c:v>
                </c:pt>
                <c:pt idx="4">
                  <c:v>11.825200000000001</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121.7</c:v>
                </c:pt>
                <c:pt idx="1">
                  <c:v>0</c:v>
                </c:pt>
                <c:pt idx="2">
                  <c:v>95</c:v>
                </c:pt>
                <c:pt idx="3">
                  <c:v>0.8</c:v>
                </c:pt>
                <c:pt idx="4">
                  <c:v>76.2</c:v>
                </c:pt>
                <c:pt idx="5">
                  <c:v>16.3999999999999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CA6-49A7-AA66-FEB11E9A4986}"/>
                </c:ext>
              </c:extLst>
            </c:dLbl>
            <c:dLbl>
              <c:idx val="5"/>
              <c:tx>
                <c:rich>
                  <a:bodyPr/>
                  <a:lstStyle/>
                  <a:p>
                    <a:r>
                      <a:t>13.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CA6-49A7-AA66-FEB11E9A498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1.8794</c:v>
                </c:pt>
                <c:pt idx="1">
                  <c:v>0</c:v>
                </c:pt>
                <c:pt idx="2">
                  <c:v>11.7378</c:v>
                </c:pt>
                <c:pt idx="3">
                  <c:v>17.801400000000001</c:v>
                </c:pt>
                <c:pt idx="4">
                  <c:v>12.538</c:v>
                </c:pt>
                <c:pt idx="5">
                  <c:v>13.4525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121.7</c:v>
                </c:pt>
                <c:pt idx="1">
                  <c:v>0</c:v>
                </c:pt>
                <c:pt idx="2">
                  <c:v>95</c:v>
                </c:pt>
                <c:pt idx="3">
                  <c:v>0</c:v>
                </c:pt>
                <c:pt idx="4">
                  <c:v>76.2</c:v>
                </c:pt>
                <c:pt idx="5">
                  <c:v>22.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2C59-483B-BB2E-4021F529B6EE}"/>
                </c:ext>
              </c:extLst>
            </c:dLbl>
            <c:dLbl>
              <c:idx val="5"/>
              <c:tx>
                <c:rich>
                  <a:bodyPr/>
                  <a:lstStyle/>
                  <a:p>
                    <a:r>
                      <a:t>10.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2C59-483B-BB2E-4021F529B6E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1.8794</c:v>
                </c:pt>
                <c:pt idx="1">
                  <c:v>0</c:v>
                </c:pt>
                <c:pt idx="2">
                  <c:v>11.7378</c:v>
                </c:pt>
                <c:pt idx="3">
                  <c:v>0</c:v>
                </c:pt>
                <c:pt idx="4">
                  <c:v>12.538</c:v>
                </c:pt>
                <c:pt idx="5">
                  <c:v>10.875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121.7</c:v>
                </c:pt>
                <c:pt idx="1">
                  <c:v>1.8</c:v>
                </c:pt>
                <c:pt idx="2">
                  <c:v>95</c:v>
                </c:pt>
                <c:pt idx="3">
                  <c:v>14</c:v>
                </c:pt>
                <c:pt idx="4">
                  <c:v>76.2</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5E31-4969-8292-C6D53926BD0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5E31-4969-8292-C6D53926BD0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1.8794</c:v>
                </c:pt>
                <c:pt idx="1">
                  <c:v>19.544699999999999</c:v>
                </c:pt>
                <c:pt idx="2">
                  <c:v>11.7378</c:v>
                </c:pt>
                <c:pt idx="3">
                  <c:v>14.9786</c:v>
                </c:pt>
                <c:pt idx="4">
                  <c:v>12.538</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D4F6-45C9-B18C-A8E7AC4D535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D4F6-45C9-B18C-A8E7AC4D535A}"/>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4437.5</c:v>
                </c:pt>
                <c:pt idx="1">
                  <c:v>115</c:v>
                </c:pt>
                <c:pt idx="2">
                  <c:v>977.2</c:v>
                </c:pt>
                <c:pt idx="3">
                  <c:v>0</c:v>
                </c:pt>
                <c:pt idx="4">
                  <c:v>551.70000000000005</c:v>
                </c:pt>
                <c:pt idx="5">
                  <c:v>0</c:v>
                </c:pt>
                <c:pt idx="6">
                  <c:v>492</c:v>
                </c:pt>
                <c:pt idx="7">
                  <c:v>0</c:v>
                </c:pt>
                <c:pt idx="8">
                  <c:v>459.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4F6-45C9-B18C-A8E7AC4D535A}"/>
                </c:ext>
              </c:extLst>
            </c:dLbl>
            <c:dLbl>
              <c:idx val="1"/>
              <c:tx>
                <c:rich>
                  <a:bodyPr/>
                  <a:lstStyle/>
                  <a:p>
                    <a:r>
                      <a:t>1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4F6-45C9-B18C-A8E7AC4D535A}"/>
                </c:ext>
              </c:extLst>
            </c:dLbl>
            <c:dLbl>
              <c:idx val="2"/>
              <c:tx>
                <c:rich>
                  <a:bodyPr/>
                  <a:lstStyle/>
                  <a:p>
                    <a:r>
                      <a:t>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4F6-45C9-B18C-A8E7AC4D535A}"/>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4F6-45C9-B18C-A8E7AC4D535A}"/>
                </c:ext>
              </c:extLst>
            </c:dLbl>
            <c:dLbl>
              <c:idx val="4"/>
              <c:tx>
                <c:rich>
                  <a:bodyPr/>
                  <a:lstStyle/>
                  <a:p>
                    <a:r>
                      <a:t>12.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D4F6-45C9-B18C-A8E7AC4D535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D4F6-45C9-B18C-A8E7AC4D535A}"/>
                </c:ext>
              </c:extLst>
            </c:dLbl>
            <c:dLbl>
              <c:idx val="6"/>
              <c:tx>
                <c:rich>
                  <a:bodyPr/>
                  <a:lstStyle/>
                  <a:p>
                    <a:r>
                      <a:t>12.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D4F6-45C9-B18C-A8E7AC4D535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D4F6-45C9-B18C-A8E7AC4D535A}"/>
                </c:ext>
              </c:extLst>
            </c:dLbl>
            <c:dLbl>
              <c:idx val="8"/>
              <c:tx>
                <c:rich>
                  <a:bodyPr/>
                  <a:lstStyle/>
                  <a:p>
                    <a:r>
                      <a:t>1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4F6-45C9-B18C-A8E7AC4D535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4F6-45C9-B18C-A8E7AC4D535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1.193899999999999</c:v>
                </c:pt>
                <c:pt idx="1">
                  <c:v>13.007999999999999</c:v>
                </c:pt>
                <c:pt idx="2">
                  <c:v>11.1023</c:v>
                </c:pt>
                <c:pt idx="3">
                  <c:v>0</c:v>
                </c:pt>
                <c:pt idx="4">
                  <c:v>12.82</c:v>
                </c:pt>
                <c:pt idx="5">
                  <c:v>0</c:v>
                </c:pt>
                <c:pt idx="6">
                  <c:v>12.9354</c:v>
                </c:pt>
                <c:pt idx="7">
                  <c:v>0</c:v>
                </c:pt>
                <c:pt idx="8">
                  <c:v>12.392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15D-4C83-848C-5DE3DFA4CD4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A15D-4C83-848C-5DE3DFA4CD44}"/>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4437.5</c:v>
                </c:pt>
                <c:pt idx="1">
                  <c:v>143.1</c:v>
                </c:pt>
                <c:pt idx="2">
                  <c:v>977.2</c:v>
                </c:pt>
                <c:pt idx="3">
                  <c:v>0</c:v>
                </c:pt>
                <c:pt idx="4">
                  <c:v>551.70000000000005</c:v>
                </c:pt>
                <c:pt idx="5">
                  <c:v>0</c:v>
                </c:pt>
                <c:pt idx="6">
                  <c:v>492</c:v>
                </c:pt>
                <c:pt idx="7">
                  <c:v>0</c:v>
                </c:pt>
                <c:pt idx="8">
                  <c:v>459.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15D-4C83-848C-5DE3DFA4CD44}"/>
                </c:ext>
              </c:extLst>
            </c:dLbl>
            <c:dLbl>
              <c:idx val="1"/>
              <c:tx>
                <c:rich>
                  <a:bodyPr/>
                  <a:lstStyle/>
                  <a:p>
                    <a:r>
                      <a:t>10.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15D-4C83-848C-5DE3DFA4CD44}"/>
                </c:ext>
              </c:extLst>
            </c:dLbl>
            <c:dLbl>
              <c:idx val="2"/>
              <c:tx>
                <c:rich>
                  <a:bodyPr/>
                  <a:lstStyle/>
                  <a:p>
                    <a:r>
                      <a:t>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15D-4C83-848C-5DE3DFA4CD4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15D-4C83-848C-5DE3DFA4CD44}"/>
                </c:ext>
              </c:extLst>
            </c:dLbl>
            <c:dLbl>
              <c:idx val="4"/>
              <c:tx>
                <c:rich>
                  <a:bodyPr/>
                  <a:lstStyle/>
                  <a:p>
                    <a:r>
                      <a:t>12.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15D-4C83-848C-5DE3DFA4CD4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15D-4C83-848C-5DE3DFA4CD44}"/>
                </c:ext>
              </c:extLst>
            </c:dLbl>
            <c:dLbl>
              <c:idx val="6"/>
              <c:tx>
                <c:rich>
                  <a:bodyPr/>
                  <a:lstStyle/>
                  <a:p>
                    <a:r>
                      <a:t>12.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15D-4C83-848C-5DE3DFA4CD44}"/>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15D-4C83-848C-5DE3DFA4CD44}"/>
                </c:ext>
              </c:extLst>
            </c:dLbl>
            <c:dLbl>
              <c:idx val="8"/>
              <c:tx>
                <c:rich>
                  <a:bodyPr/>
                  <a:lstStyle/>
                  <a:p>
                    <a:r>
                      <a:t>1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15D-4C83-848C-5DE3DFA4CD44}"/>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15D-4C83-848C-5DE3DFA4CD4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1.193899999999999</c:v>
                </c:pt>
                <c:pt idx="1">
                  <c:v>10.351599999999999</c:v>
                </c:pt>
                <c:pt idx="2">
                  <c:v>11.1023</c:v>
                </c:pt>
                <c:pt idx="3">
                  <c:v>0</c:v>
                </c:pt>
                <c:pt idx="4">
                  <c:v>12.82</c:v>
                </c:pt>
                <c:pt idx="5">
                  <c:v>0</c:v>
                </c:pt>
                <c:pt idx="6">
                  <c:v>12.9354</c:v>
                </c:pt>
                <c:pt idx="7">
                  <c:v>0</c:v>
                </c:pt>
                <c:pt idx="8">
                  <c:v>12.392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370B-472C-ABB4-663CEA1A9B5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370B-472C-ABB4-663CEA1A9B52}"/>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4437.5</c:v>
                </c:pt>
                <c:pt idx="1">
                  <c:v>81.8</c:v>
                </c:pt>
                <c:pt idx="2">
                  <c:v>977.2</c:v>
                </c:pt>
                <c:pt idx="3">
                  <c:v>0</c:v>
                </c:pt>
                <c:pt idx="4">
                  <c:v>551.70000000000005</c:v>
                </c:pt>
                <c:pt idx="5">
                  <c:v>0</c:v>
                </c:pt>
                <c:pt idx="6">
                  <c:v>492</c:v>
                </c:pt>
                <c:pt idx="7">
                  <c:v>0</c:v>
                </c:pt>
                <c:pt idx="8">
                  <c:v>459.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70B-472C-ABB4-663CEA1A9B52}"/>
                </c:ext>
              </c:extLst>
            </c:dLbl>
            <c:dLbl>
              <c:idx val="1"/>
              <c:tx>
                <c:rich>
                  <a:bodyPr/>
                  <a:lstStyle/>
                  <a:p>
                    <a:r>
                      <a:t>15.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70B-472C-ABB4-663CEA1A9B52}"/>
                </c:ext>
              </c:extLst>
            </c:dLbl>
            <c:dLbl>
              <c:idx val="2"/>
              <c:tx>
                <c:rich>
                  <a:bodyPr/>
                  <a:lstStyle/>
                  <a:p>
                    <a:r>
                      <a:t>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70B-472C-ABB4-663CEA1A9B52}"/>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70B-472C-ABB4-663CEA1A9B52}"/>
                </c:ext>
              </c:extLst>
            </c:dLbl>
            <c:dLbl>
              <c:idx val="4"/>
              <c:tx>
                <c:rich>
                  <a:bodyPr/>
                  <a:lstStyle/>
                  <a:p>
                    <a:r>
                      <a:t>12.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370B-472C-ABB4-663CEA1A9B52}"/>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370B-472C-ABB4-663CEA1A9B52}"/>
                </c:ext>
              </c:extLst>
            </c:dLbl>
            <c:dLbl>
              <c:idx val="6"/>
              <c:tx>
                <c:rich>
                  <a:bodyPr/>
                  <a:lstStyle/>
                  <a:p>
                    <a:r>
                      <a:t>12.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370B-472C-ABB4-663CEA1A9B52}"/>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370B-472C-ABB4-663CEA1A9B52}"/>
                </c:ext>
              </c:extLst>
            </c:dLbl>
            <c:dLbl>
              <c:idx val="8"/>
              <c:tx>
                <c:rich>
                  <a:bodyPr/>
                  <a:lstStyle/>
                  <a:p>
                    <a:r>
                      <a:t>1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370B-472C-ABB4-663CEA1A9B5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370B-472C-ABB4-663CEA1A9B5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1.193899999999999</c:v>
                </c:pt>
                <c:pt idx="1">
                  <c:v>15.241099999999999</c:v>
                </c:pt>
                <c:pt idx="2">
                  <c:v>11.1023</c:v>
                </c:pt>
                <c:pt idx="3">
                  <c:v>0</c:v>
                </c:pt>
                <c:pt idx="4">
                  <c:v>12.82</c:v>
                </c:pt>
                <c:pt idx="5">
                  <c:v>0</c:v>
                </c:pt>
                <c:pt idx="6">
                  <c:v>12.9354</c:v>
                </c:pt>
                <c:pt idx="7">
                  <c:v>0</c:v>
                </c:pt>
                <c:pt idx="8">
                  <c:v>12.3925</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428-4B0E-85E4-A01C71092A3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0428-4B0E-85E4-A01C71092A3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754.7</c:v>
                </c:pt>
                <c:pt idx="1">
                  <c:v>22.8</c:v>
                </c:pt>
                <c:pt idx="2">
                  <c:v>130.69999999999999</c:v>
                </c:pt>
                <c:pt idx="3">
                  <c:v>0</c:v>
                </c:pt>
                <c:pt idx="4">
                  <c:v>71.5</c:v>
                </c:pt>
                <c:pt idx="5">
                  <c:v>0</c:v>
                </c:pt>
                <c:pt idx="6">
                  <c:v>70.3</c:v>
                </c:pt>
                <c:pt idx="7">
                  <c:v>0</c:v>
                </c:pt>
                <c:pt idx="8">
                  <c:v>69.900000000000006</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428-4B0E-85E4-A01C71092A30}"/>
                </c:ext>
              </c:extLst>
            </c:dLbl>
            <c:dLbl>
              <c:idx val="1"/>
              <c:tx>
                <c:rich>
                  <a:bodyPr/>
                  <a:lstStyle/>
                  <a:p>
                    <a:r>
                      <a:t>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428-4B0E-85E4-A01C71092A30}"/>
                </c:ext>
              </c:extLst>
            </c:dLbl>
            <c:dLbl>
              <c:idx val="2"/>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428-4B0E-85E4-A01C71092A3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428-4B0E-85E4-A01C71092A30}"/>
                </c:ext>
              </c:extLst>
            </c:dLbl>
            <c:dLbl>
              <c:idx val="4"/>
              <c:tx>
                <c:rich>
                  <a:bodyPr/>
                  <a:lstStyle/>
                  <a:p>
                    <a:r>
                      <a:t>13.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428-4B0E-85E4-A01C71092A3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428-4B0E-85E4-A01C71092A30}"/>
                </c:ext>
              </c:extLst>
            </c:dLbl>
            <c:dLbl>
              <c:idx val="6"/>
              <c:tx>
                <c:rich>
                  <a:bodyPr/>
                  <a:lstStyle/>
                  <a:p>
                    <a:r>
                      <a:t>14.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428-4B0E-85E4-A01C71092A3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428-4B0E-85E4-A01C71092A30}"/>
                </c:ext>
              </c:extLst>
            </c:dLbl>
            <c:dLbl>
              <c:idx val="8"/>
              <c:tx>
                <c:rich>
                  <a:bodyPr/>
                  <a:lstStyle/>
                  <a:p>
                    <a:r>
                      <a:t>13.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428-4B0E-85E4-A01C71092A3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428-4B0E-85E4-A01C71092A3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2.0184</c:v>
                </c:pt>
                <c:pt idx="1">
                  <c:v>12.504899999999999</c:v>
                </c:pt>
                <c:pt idx="2">
                  <c:v>11.7029</c:v>
                </c:pt>
                <c:pt idx="3">
                  <c:v>0</c:v>
                </c:pt>
                <c:pt idx="4">
                  <c:v>13.981</c:v>
                </c:pt>
                <c:pt idx="5">
                  <c:v>0</c:v>
                </c:pt>
                <c:pt idx="6">
                  <c:v>14.349600000000001</c:v>
                </c:pt>
                <c:pt idx="7">
                  <c:v>0</c:v>
                </c:pt>
                <c:pt idx="8">
                  <c:v>13.320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E8C9D68-4F05-4B30-8BE0-A81EB52EBE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06C2A9E-5E31-47A5-B1EE-BCB2394B3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6959927-6720-4A3D-A93E-3B24A609C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B6F94C7-7077-4CF9-A1A7-234E1A71C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C45A98D-CBCE-4BA0-862B-ED8681D32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0F7D67A-6544-446B-B5D1-AAFF188D7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2460CFBD-2A1A-4D03-AFF7-F23CAAF0D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412810C9-45E6-4BE2-AFBD-069022082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854999999999999</c:v>
                </c:pt>
                <c:pt idx="1">
                  <c:v>2.1145</c:v>
                </c:pt>
                <c:pt idx="2">
                  <c:v>3.4693000000000001</c:v>
                </c:pt>
                <c:pt idx="3">
                  <c:v>3.0528</c:v>
                </c:pt>
                <c:pt idx="4">
                  <c:v>2.6516999999999999</c:v>
                </c:pt>
                <c:pt idx="5">
                  <c:v>5.1757</c:v>
                </c:pt>
              </c:numCache>
            </c:numRef>
          </c:xVal>
          <c:yVal>
            <c:numRef>
              <c:f>Sheet1!$B$2:$B$7</c:f>
              <c:numCache>
                <c:formatCode>General</c:formatCode>
                <c:ptCount val="6"/>
                <c:pt idx="0">
                  <c:v>0.876</c:v>
                </c:pt>
                <c:pt idx="1">
                  <c:v>1.0249999999999999</c:v>
                </c:pt>
                <c:pt idx="2">
                  <c:v>1.6819999999999999</c:v>
                </c:pt>
                <c:pt idx="3">
                  <c:v>1.4810000000000001</c:v>
                </c:pt>
                <c:pt idx="4">
                  <c:v>1.2889999999999999</c:v>
                </c:pt>
                <c:pt idx="5">
                  <c:v>1.597</c:v>
                </c:pt>
              </c:numCache>
            </c:numRef>
          </c:yVal>
          <c:bubbleSize>
            <c:numRef>
              <c:f>Sheet1!$C$2:$C$7</c:f>
              <c:numCache>
                <c:formatCode>General</c:formatCode>
                <c:ptCount val="6"/>
                <c:pt idx="0">
                  <c:v>23637907</c:v>
                </c:pt>
                <c:pt idx="1">
                  <c:v>5715349</c:v>
                </c:pt>
                <c:pt idx="2">
                  <c:v>3679581</c:v>
                </c:pt>
                <c:pt idx="3">
                  <c:v>2136150</c:v>
                </c:pt>
                <c:pt idx="4">
                  <c:v>1221414</c:v>
                </c:pt>
                <c:pt idx="5">
                  <c:v>535470</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CB0-4081-9D1C-8AE31F9E6BE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9CB0-4081-9D1C-8AE31F9E6BE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754.7</c:v>
                </c:pt>
                <c:pt idx="1">
                  <c:v>30.5</c:v>
                </c:pt>
                <c:pt idx="2">
                  <c:v>130.69999999999999</c:v>
                </c:pt>
                <c:pt idx="3">
                  <c:v>0</c:v>
                </c:pt>
                <c:pt idx="4">
                  <c:v>71.5</c:v>
                </c:pt>
                <c:pt idx="5">
                  <c:v>0</c:v>
                </c:pt>
                <c:pt idx="6">
                  <c:v>70.3</c:v>
                </c:pt>
                <c:pt idx="7">
                  <c:v>0</c:v>
                </c:pt>
                <c:pt idx="8">
                  <c:v>69.900000000000006</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CB0-4081-9D1C-8AE31F9E6BE0}"/>
                </c:ext>
              </c:extLst>
            </c:dLbl>
            <c:dLbl>
              <c:idx val="1"/>
              <c:tx>
                <c:rich>
                  <a:bodyPr/>
                  <a:lstStyle/>
                  <a:p>
                    <a:r>
                      <a:t>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CB0-4081-9D1C-8AE31F9E6BE0}"/>
                </c:ext>
              </c:extLst>
            </c:dLbl>
            <c:dLbl>
              <c:idx val="2"/>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CB0-4081-9D1C-8AE31F9E6BE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CB0-4081-9D1C-8AE31F9E6BE0}"/>
                </c:ext>
              </c:extLst>
            </c:dLbl>
            <c:dLbl>
              <c:idx val="4"/>
              <c:tx>
                <c:rich>
                  <a:bodyPr/>
                  <a:lstStyle/>
                  <a:p>
                    <a:r>
                      <a:t>13.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CB0-4081-9D1C-8AE31F9E6BE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CB0-4081-9D1C-8AE31F9E6BE0}"/>
                </c:ext>
              </c:extLst>
            </c:dLbl>
            <c:dLbl>
              <c:idx val="6"/>
              <c:tx>
                <c:rich>
                  <a:bodyPr/>
                  <a:lstStyle/>
                  <a:p>
                    <a:r>
                      <a:t>14.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CB0-4081-9D1C-8AE31F9E6BE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CB0-4081-9D1C-8AE31F9E6BE0}"/>
                </c:ext>
              </c:extLst>
            </c:dLbl>
            <c:dLbl>
              <c:idx val="8"/>
              <c:tx>
                <c:rich>
                  <a:bodyPr/>
                  <a:lstStyle/>
                  <a:p>
                    <a:r>
                      <a:t>13.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CB0-4081-9D1C-8AE31F9E6BE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CB0-4081-9D1C-8AE31F9E6BE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2.0184</c:v>
                </c:pt>
                <c:pt idx="1">
                  <c:v>9.6412999999999993</c:v>
                </c:pt>
                <c:pt idx="2">
                  <c:v>11.7029</c:v>
                </c:pt>
                <c:pt idx="3">
                  <c:v>0</c:v>
                </c:pt>
                <c:pt idx="4">
                  <c:v>13.981</c:v>
                </c:pt>
                <c:pt idx="5">
                  <c:v>0</c:v>
                </c:pt>
                <c:pt idx="6">
                  <c:v>14.349600000000001</c:v>
                </c:pt>
                <c:pt idx="7">
                  <c:v>0</c:v>
                </c:pt>
                <c:pt idx="8">
                  <c:v>13.320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3426-4C22-8685-2603E58F56F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3426-4C22-8685-2603E58F56F8}"/>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754.7</c:v>
                </c:pt>
                <c:pt idx="1">
                  <c:v>15.4</c:v>
                </c:pt>
                <c:pt idx="2">
                  <c:v>130.69999999999999</c:v>
                </c:pt>
                <c:pt idx="3">
                  <c:v>0</c:v>
                </c:pt>
                <c:pt idx="4">
                  <c:v>71.5</c:v>
                </c:pt>
                <c:pt idx="5">
                  <c:v>0</c:v>
                </c:pt>
                <c:pt idx="6">
                  <c:v>70.3</c:v>
                </c:pt>
                <c:pt idx="7">
                  <c:v>0</c:v>
                </c:pt>
                <c:pt idx="8">
                  <c:v>69.900000000000006</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426-4C22-8685-2603E58F56F8}"/>
                </c:ext>
              </c:extLst>
            </c:dLbl>
            <c:dLbl>
              <c:idx val="1"/>
              <c:tx>
                <c:rich>
                  <a:bodyPr/>
                  <a:lstStyle/>
                  <a:p>
                    <a:r>
                      <a:t>15.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426-4C22-8685-2603E58F56F8}"/>
                </c:ext>
              </c:extLst>
            </c:dLbl>
            <c:dLbl>
              <c:idx val="2"/>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426-4C22-8685-2603E58F56F8}"/>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426-4C22-8685-2603E58F56F8}"/>
                </c:ext>
              </c:extLst>
            </c:dLbl>
            <c:dLbl>
              <c:idx val="4"/>
              <c:tx>
                <c:rich>
                  <a:bodyPr/>
                  <a:lstStyle/>
                  <a:p>
                    <a:r>
                      <a:t>13.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3426-4C22-8685-2603E58F56F8}"/>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3426-4C22-8685-2603E58F56F8}"/>
                </c:ext>
              </c:extLst>
            </c:dLbl>
            <c:dLbl>
              <c:idx val="6"/>
              <c:tx>
                <c:rich>
                  <a:bodyPr/>
                  <a:lstStyle/>
                  <a:p>
                    <a:r>
                      <a:t>14.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3426-4C22-8685-2603E58F56F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3426-4C22-8685-2603E58F56F8}"/>
                </c:ext>
              </c:extLst>
            </c:dLbl>
            <c:dLbl>
              <c:idx val="8"/>
              <c:tx>
                <c:rich>
                  <a:bodyPr/>
                  <a:lstStyle/>
                  <a:p>
                    <a:r>
                      <a:t>13.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3426-4C22-8685-2603E58F56F8}"/>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3426-4C22-8685-2603E58F56F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2.0184</c:v>
                </c:pt>
                <c:pt idx="1">
                  <c:v>15.8935</c:v>
                </c:pt>
                <c:pt idx="2">
                  <c:v>11.7029</c:v>
                </c:pt>
                <c:pt idx="3">
                  <c:v>0</c:v>
                </c:pt>
                <c:pt idx="4">
                  <c:v>13.981</c:v>
                </c:pt>
                <c:pt idx="5">
                  <c:v>0</c:v>
                </c:pt>
                <c:pt idx="6">
                  <c:v>14.349600000000001</c:v>
                </c:pt>
                <c:pt idx="7">
                  <c:v>0</c:v>
                </c:pt>
                <c:pt idx="8">
                  <c:v>13.320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DA86-4296-A90B-B255FA86E07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DA86-4296-A90B-B255FA86E074}"/>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572.9</c:v>
                </c:pt>
                <c:pt idx="1">
                  <c:v>17.2</c:v>
                </c:pt>
                <c:pt idx="2">
                  <c:v>259.8</c:v>
                </c:pt>
                <c:pt idx="3">
                  <c:v>0</c:v>
                </c:pt>
                <c:pt idx="4">
                  <c:v>149.6</c:v>
                </c:pt>
                <c:pt idx="5">
                  <c:v>0</c:v>
                </c:pt>
                <c:pt idx="6">
                  <c:v>118.6</c:v>
                </c:pt>
                <c:pt idx="7">
                  <c:v>0</c:v>
                </c:pt>
                <c:pt idx="8">
                  <c:v>89.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A86-4296-A90B-B255FA86E074}"/>
                </c:ext>
              </c:extLst>
            </c:dLbl>
            <c:dLbl>
              <c:idx val="1"/>
              <c:tx>
                <c:rich>
                  <a:bodyPr/>
                  <a:lstStyle/>
                  <a:p>
                    <a:r>
                      <a:t>1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A86-4296-A90B-B255FA86E074}"/>
                </c:ext>
              </c:extLst>
            </c:dLbl>
            <c:dLbl>
              <c:idx val="2"/>
              <c:tx>
                <c:rich>
                  <a:bodyPr/>
                  <a:lstStyle/>
                  <a:p>
                    <a:r>
                      <a:t>10.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A86-4296-A90B-B255FA86E07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A86-4296-A90B-B255FA86E074}"/>
                </c:ext>
              </c:extLst>
            </c:dLbl>
            <c:dLbl>
              <c:idx val="4"/>
              <c:tx>
                <c:rich>
                  <a:bodyPr/>
                  <a:lstStyle/>
                  <a:p>
                    <a:r>
                      <a:t>12.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DA86-4296-A90B-B255FA86E07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DA86-4296-A90B-B255FA86E074}"/>
                </c:ext>
              </c:extLst>
            </c:dLbl>
            <c:dLbl>
              <c:idx val="6"/>
              <c:tx>
                <c:rich>
                  <a:bodyPr/>
                  <a:lstStyle/>
                  <a:p>
                    <a:r>
                      <a:t>11.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DA86-4296-A90B-B255FA86E074}"/>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DA86-4296-A90B-B255FA86E074}"/>
                </c:ext>
              </c:extLst>
            </c:dLbl>
            <c:dLbl>
              <c:idx val="8"/>
              <c:tx>
                <c:rich>
                  <a:bodyPr/>
                  <a:lstStyle/>
                  <a:p>
                    <a:r>
                      <a:t>12.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A86-4296-A90B-B255FA86E074}"/>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A86-4296-A90B-B255FA86E07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1.2712</c:v>
                </c:pt>
                <c:pt idx="1">
                  <c:v>13.607699999999999</c:v>
                </c:pt>
                <c:pt idx="2">
                  <c:v>10.473599999999999</c:v>
                </c:pt>
                <c:pt idx="3">
                  <c:v>0</c:v>
                </c:pt>
                <c:pt idx="4">
                  <c:v>12.640499999999999</c:v>
                </c:pt>
                <c:pt idx="5">
                  <c:v>0</c:v>
                </c:pt>
                <c:pt idx="6">
                  <c:v>11.6739</c:v>
                </c:pt>
                <c:pt idx="7">
                  <c:v>0</c:v>
                </c:pt>
                <c:pt idx="8">
                  <c:v>12.1838</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5F4D-42CA-9C59-B72734B91CB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5F4D-42CA-9C59-B72734B91CB2}"/>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572.9</c:v>
                </c:pt>
                <c:pt idx="1">
                  <c:v>22.6</c:v>
                </c:pt>
                <c:pt idx="2">
                  <c:v>259.8</c:v>
                </c:pt>
                <c:pt idx="3">
                  <c:v>0</c:v>
                </c:pt>
                <c:pt idx="4">
                  <c:v>149.6</c:v>
                </c:pt>
                <c:pt idx="5">
                  <c:v>0</c:v>
                </c:pt>
                <c:pt idx="6">
                  <c:v>118.6</c:v>
                </c:pt>
                <c:pt idx="7">
                  <c:v>0</c:v>
                </c:pt>
                <c:pt idx="8">
                  <c:v>89.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F4D-42CA-9C59-B72734B91CB2}"/>
                </c:ext>
              </c:extLst>
            </c:dLbl>
            <c:dLbl>
              <c:idx val="1"/>
              <c:tx>
                <c:rich>
                  <a:bodyPr/>
                  <a:lstStyle/>
                  <a:p>
                    <a:r>
                      <a:t>10.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F4D-42CA-9C59-B72734B91CB2}"/>
                </c:ext>
              </c:extLst>
            </c:dLbl>
            <c:dLbl>
              <c:idx val="2"/>
              <c:tx>
                <c:rich>
                  <a:bodyPr/>
                  <a:lstStyle/>
                  <a:p>
                    <a:r>
                      <a:t>10.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F4D-42CA-9C59-B72734B91CB2}"/>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F4D-42CA-9C59-B72734B91CB2}"/>
                </c:ext>
              </c:extLst>
            </c:dLbl>
            <c:dLbl>
              <c:idx val="4"/>
              <c:tx>
                <c:rich>
                  <a:bodyPr/>
                  <a:lstStyle/>
                  <a:p>
                    <a:r>
                      <a:t>12.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F4D-42CA-9C59-B72734B91CB2}"/>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F4D-42CA-9C59-B72734B91CB2}"/>
                </c:ext>
              </c:extLst>
            </c:dLbl>
            <c:dLbl>
              <c:idx val="6"/>
              <c:tx>
                <c:rich>
                  <a:bodyPr/>
                  <a:lstStyle/>
                  <a:p>
                    <a:r>
                      <a:t>11.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F4D-42CA-9C59-B72734B91CB2}"/>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F4D-42CA-9C59-B72734B91CB2}"/>
                </c:ext>
              </c:extLst>
            </c:dLbl>
            <c:dLbl>
              <c:idx val="8"/>
              <c:tx>
                <c:rich>
                  <a:bodyPr/>
                  <a:lstStyle/>
                  <a:p>
                    <a:r>
                      <a:t>12.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F4D-42CA-9C59-B72734B91CB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F4D-42CA-9C59-B72734B91CB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1.2712</c:v>
                </c:pt>
                <c:pt idx="1">
                  <c:v>10.8757</c:v>
                </c:pt>
                <c:pt idx="2">
                  <c:v>10.473599999999999</c:v>
                </c:pt>
                <c:pt idx="3">
                  <c:v>0</c:v>
                </c:pt>
                <c:pt idx="4">
                  <c:v>12.640499999999999</c:v>
                </c:pt>
                <c:pt idx="5">
                  <c:v>0</c:v>
                </c:pt>
                <c:pt idx="6">
                  <c:v>11.6739</c:v>
                </c:pt>
                <c:pt idx="7">
                  <c:v>0</c:v>
                </c:pt>
                <c:pt idx="8">
                  <c:v>12.1838</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779-4EC5-8FEF-A197A6FCDE6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9779-4EC5-8FEF-A197A6FCDE6E}"/>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572.9</c:v>
                </c:pt>
                <c:pt idx="1">
                  <c:v>15.8</c:v>
                </c:pt>
                <c:pt idx="2">
                  <c:v>259.8</c:v>
                </c:pt>
                <c:pt idx="3">
                  <c:v>0</c:v>
                </c:pt>
                <c:pt idx="4">
                  <c:v>149.6</c:v>
                </c:pt>
                <c:pt idx="5">
                  <c:v>0</c:v>
                </c:pt>
                <c:pt idx="6">
                  <c:v>118.6</c:v>
                </c:pt>
                <c:pt idx="7">
                  <c:v>0</c:v>
                </c:pt>
                <c:pt idx="8">
                  <c:v>89.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779-4EC5-8FEF-A197A6FCDE6E}"/>
                </c:ext>
              </c:extLst>
            </c:dLbl>
            <c:dLbl>
              <c:idx val="1"/>
              <c:tx>
                <c:rich>
                  <a:bodyPr/>
                  <a:lstStyle/>
                  <a:p>
                    <a:r>
                      <a:t>15.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779-4EC5-8FEF-A197A6FCDE6E}"/>
                </c:ext>
              </c:extLst>
            </c:dLbl>
            <c:dLbl>
              <c:idx val="2"/>
              <c:tx>
                <c:rich>
                  <a:bodyPr/>
                  <a:lstStyle/>
                  <a:p>
                    <a:r>
                      <a:t>10.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779-4EC5-8FEF-A197A6FCDE6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779-4EC5-8FEF-A197A6FCDE6E}"/>
                </c:ext>
              </c:extLst>
            </c:dLbl>
            <c:dLbl>
              <c:idx val="4"/>
              <c:tx>
                <c:rich>
                  <a:bodyPr/>
                  <a:lstStyle/>
                  <a:p>
                    <a:r>
                      <a:t>12.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779-4EC5-8FEF-A197A6FCDE6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779-4EC5-8FEF-A197A6FCDE6E}"/>
                </c:ext>
              </c:extLst>
            </c:dLbl>
            <c:dLbl>
              <c:idx val="6"/>
              <c:tx>
                <c:rich>
                  <a:bodyPr/>
                  <a:lstStyle/>
                  <a:p>
                    <a:r>
                      <a:t>11.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779-4EC5-8FEF-A197A6FCDE6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779-4EC5-8FEF-A197A6FCDE6E}"/>
                </c:ext>
              </c:extLst>
            </c:dLbl>
            <c:dLbl>
              <c:idx val="8"/>
              <c:tx>
                <c:rich>
                  <a:bodyPr/>
                  <a:lstStyle/>
                  <a:p>
                    <a:r>
                      <a:t>12.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779-4EC5-8FEF-A197A6FCDE6E}"/>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779-4EC5-8FEF-A197A6FCDE6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1.2712</c:v>
                </c:pt>
                <c:pt idx="1">
                  <c:v>15.386799999999999</c:v>
                </c:pt>
                <c:pt idx="2">
                  <c:v>10.473599999999999</c:v>
                </c:pt>
                <c:pt idx="3">
                  <c:v>0</c:v>
                </c:pt>
                <c:pt idx="4">
                  <c:v>12.640499999999999</c:v>
                </c:pt>
                <c:pt idx="5">
                  <c:v>0</c:v>
                </c:pt>
                <c:pt idx="6">
                  <c:v>11.6739</c:v>
                </c:pt>
                <c:pt idx="7">
                  <c:v>0</c:v>
                </c:pt>
                <c:pt idx="8">
                  <c:v>12.1838</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D23E-4C63-AC5A-7F328ED6CBA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D23E-4C63-AC5A-7F328ED6CBAF}"/>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Rape</c:v>
                  </c:pt>
                  <c:pt idx="6">
                    <c:v>Chevre</c:v>
                  </c:pt>
                  <c:pt idx="8">
                    <c:v>Frais A Tartiner</c:v>
                  </c:pt>
                </c:lvl>
              </c:multiLvlStrCache>
            </c:multiLvlStrRef>
          </c:cat>
          <c:val>
            <c:numRef>
              <c:f>Sheet1!$C$2:$C$11</c:f>
              <c:numCache>
                <c:formatCode>General</c:formatCode>
                <c:ptCount val="10"/>
                <c:pt idx="0">
                  <c:v>1195.2</c:v>
                </c:pt>
                <c:pt idx="1">
                  <c:v>0</c:v>
                </c:pt>
                <c:pt idx="2">
                  <c:v>1058.4000000000001</c:v>
                </c:pt>
                <c:pt idx="3">
                  <c:v>0</c:v>
                </c:pt>
                <c:pt idx="4">
                  <c:v>977.2</c:v>
                </c:pt>
                <c:pt idx="5">
                  <c:v>0</c:v>
                </c:pt>
                <c:pt idx="6">
                  <c:v>809</c:v>
                </c:pt>
                <c:pt idx="7">
                  <c:v>0</c:v>
                </c:pt>
                <c:pt idx="8">
                  <c:v>668.4</c:v>
                </c:pt>
                <c:pt idx="9">
                  <c:v>5.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23E-4C63-AC5A-7F328ED6CBAF}"/>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23E-4C63-AC5A-7F328ED6CBAF}"/>
                </c:ext>
              </c:extLst>
            </c:dLbl>
            <c:dLbl>
              <c:idx val="2"/>
              <c:tx>
                <c:rich>
                  <a:bodyPr/>
                  <a:lstStyle/>
                  <a:p>
                    <a:r>
                      <a:t>1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23E-4C63-AC5A-7F328ED6CBA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23E-4C63-AC5A-7F328ED6CBAF}"/>
                </c:ext>
              </c:extLst>
            </c:dLbl>
            <c:dLbl>
              <c:idx val="4"/>
              <c:tx>
                <c:rich>
                  <a:bodyPr/>
                  <a:lstStyle/>
                  <a:p>
                    <a:r>
                      <a:t>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D23E-4C63-AC5A-7F328ED6CBA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D23E-4C63-AC5A-7F328ED6CBAF}"/>
                </c:ext>
              </c:extLst>
            </c:dLbl>
            <c:dLbl>
              <c:idx val="6"/>
              <c:tx>
                <c:rich>
                  <a:bodyPr/>
                  <a:lstStyle/>
                  <a:p>
                    <a:r>
                      <a:t>1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D23E-4C63-AC5A-7F328ED6CBAF}"/>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D23E-4C63-AC5A-7F328ED6CBAF}"/>
                </c:ext>
              </c:extLst>
            </c:dLbl>
            <c:dLbl>
              <c:idx val="8"/>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23E-4C63-AC5A-7F328ED6CBAF}"/>
                </c:ext>
              </c:extLst>
            </c:dLbl>
            <c:dLbl>
              <c:idx val="9"/>
              <c:tx>
                <c:rich>
                  <a:bodyPr/>
                  <a:lstStyle/>
                  <a:p>
                    <a:r>
                      <a:t>16.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23E-4C63-AC5A-7F328ED6CBA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Rape</c:v>
                  </c:pt>
                  <c:pt idx="6">
                    <c:v>Chevre</c:v>
                  </c:pt>
                  <c:pt idx="8">
                    <c:v>Frais A Tartiner</c:v>
                  </c:pt>
                </c:lvl>
              </c:multiLvlStrCache>
            </c:multiLvlStrRef>
          </c:cat>
          <c:val>
            <c:numRef>
              <c:f>Sheet1!$D$2:$D$11</c:f>
              <c:numCache>
                <c:formatCode>General</c:formatCode>
                <c:ptCount val="10"/>
                <c:pt idx="0">
                  <c:v>8.8222000000000005</c:v>
                </c:pt>
                <c:pt idx="1">
                  <c:v>0</c:v>
                </c:pt>
                <c:pt idx="2">
                  <c:v>12.3523</c:v>
                </c:pt>
                <c:pt idx="3">
                  <c:v>0</c:v>
                </c:pt>
                <c:pt idx="4">
                  <c:v>11.1023</c:v>
                </c:pt>
                <c:pt idx="5">
                  <c:v>0</c:v>
                </c:pt>
                <c:pt idx="6">
                  <c:v>13.5334</c:v>
                </c:pt>
                <c:pt idx="7">
                  <c:v>0</c:v>
                </c:pt>
                <c:pt idx="8">
                  <c:v>11.0937</c:v>
                </c:pt>
                <c:pt idx="9">
                  <c:v>16.8077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68A-4DE1-82AD-BDF43A457251}"/>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A68A-4DE1-82AD-BDF43A457251}"/>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Rape</c:v>
                  </c:pt>
                  <c:pt idx="6">
                    <c:v>Chevre</c:v>
                  </c:pt>
                  <c:pt idx="8">
                    <c:v>Frais A Tartiner</c:v>
                  </c:pt>
                </c:lvl>
              </c:multiLvlStrCache>
            </c:multiLvlStrRef>
          </c:cat>
          <c:val>
            <c:numRef>
              <c:f>Sheet1!$C$2:$C$11</c:f>
              <c:numCache>
                <c:formatCode>General</c:formatCode>
                <c:ptCount val="10"/>
                <c:pt idx="0">
                  <c:v>1195.2</c:v>
                </c:pt>
                <c:pt idx="1">
                  <c:v>0</c:v>
                </c:pt>
                <c:pt idx="2">
                  <c:v>1058.4000000000001</c:v>
                </c:pt>
                <c:pt idx="3">
                  <c:v>0</c:v>
                </c:pt>
                <c:pt idx="4">
                  <c:v>977.2</c:v>
                </c:pt>
                <c:pt idx="5">
                  <c:v>0</c:v>
                </c:pt>
                <c:pt idx="6">
                  <c:v>809</c:v>
                </c:pt>
                <c:pt idx="7">
                  <c:v>0</c:v>
                </c:pt>
                <c:pt idx="8">
                  <c:v>668.4</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68A-4DE1-82AD-BDF43A457251}"/>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68A-4DE1-82AD-BDF43A457251}"/>
                </c:ext>
              </c:extLst>
            </c:dLbl>
            <c:dLbl>
              <c:idx val="2"/>
              <c:tx>
                <c:rich>
                  <a:bodyPr/>
                  <a:lstStyle/>
                  <a:p>
                    <a:r>
                      <a:t>1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68A-4DE1-82AD-BDF43A457251}"/>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68A-4DE1-82AD-BDF43A457251}"/>
                </c:ext>
              </c:extLst>
            </c:dLbl>
            <c:dLbl>
              <c:idx val="4"/>
              <c:tx>
                <c:rich>
                  <a:bodyPr/>
                  <a:lstStyle/>
                  <a:p>
                    <a:r>
                      <a:t>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68A-4DE1-82AD-BDF43A45725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68A-4DE1-82AD-BDF43A457251}"/>
                </c:ext>
              </c:extLst>
            </c:dLbl>
            <c:dLbl>
              <c:idx val="6"/>
              <c:tx>
                <c:rich>
                  <a:bodyPr/>
                  <a:lstStyle/>
                  <a:p>
                    <a:r>
                      <a:t>1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68A-4DE1-82AD-BDF43A457251}"/>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68A-4DE1-82AD-BDF43A457251}"/>
                </c:ext>
              </c:extLst>
            </c:dLbl>
            <c:dLbl>
              <c:idx val="8"/>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68A-4DE1-82AD-BDF43A457251}"/>
                </c:ext>
              </c:extLst>
            </c:dLbl>
            <c:dLbl>
              <c:idx val="9"/>
              <c:tx>
                <c:rich>
                  <a:bodyPr/>
                  <a:lstStyle/>
                  <a:p>
                    <a:r>
                      <a:t>8.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68A-4DE1-82AD-BDF43A45725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Rape</c:v>
                  </c:pt>
                  <c:pt idx="6">
                    <c:v>Chevre</c:v>
                  </c:pt>
                  <c:pt idx="8">
                    <c:v>Frais A Tartiner</c:v>
                  </c:pt>
                </c:lvl>
              </c:multiLvlStrCache>
            </c:multiLvlStrRef>
          </c:cat>
          <c:val>
            <c:numRef>
              <c:f>Sheet1!$D$2:$D$11</c:f>
              <c:numCache>
                <c:formatCode>General</c:formatCode>
                <c:ptCount val="10"/>
                <c:pt idx="0">
                  <c:v>8.8222000000000005</c:v>
                </c:pt>
                <c:pt idx="1">
                  <c:v>0</c:v>
                </c:pt>
                <c:pt idx="2">
                  <c:v>12.3523</c:v>
                </c:pt>
                <c:pt idx="3">
                  <c:v>0</c:v>
                </c:pt>
                <c:pt idx="4">
                  <c:v>11.1023</c:v>
                </c:pt>
                <c:pt idx="5">
                  <c:v>0</c:v>
                </c:pt>
                <c:pt idx="6">
                  <c:v>13.5334</c:v>
                </c:pt>
                <c:pt idx="7">
                  <c:v>0</c:v>
                </c:pt>
                <c:pt idx="8">
                  <c:v>11.0937</c:v>
                </c:pt>
                <c:pt idx="9">
                  <c:v>8.888899999999999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C915-4945-8293-22C3284BCC34}"/>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C915-4945-8293-22C3284BCC34}"/>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Rape</c:v>
                  </c:pt>
                  <c:pt idx="6">
                    <c:v>Chevre</c:v>
                  </c:pt>
                  <c:pt idx="8">
                    <c:v>Frais A Tartiner</c:v>
                  </c:pt>
                </c:lvl>
              </c:multiLvlStrCache>
            </c:multiLvlStrRef>
          </c:cat>
          <c:val>
            <c:numRef>
              <c:f>Sheet1!$C$2:$C$11</c:f>
              <c:numCache>
                <c:formatCode>General</c:formatCode>
                <c:ptCount val="10"/>
                <c:pt idx="0">
                  <c:v>1195.2</c:v>
                </c:pt>
                <c:pt idx="1">
                  <c:v>0</c:v>
                </c:pt>
                <c:pt idx="2">
                  <c:v>1058.4000000000001</c:v>
                </c:pt>
                <c:pt idx="3">
                  <c:v>11.9</c:v>
                </c:pt>
                <c:pt idx="4">
                  <c:v>977.2</c:v>
                </c:pt>
                <c:pt idx="5">
                  <c:v>0</c:v>
                </c:pt>
                <c:pt idx="6">
                  <c:v>809</c:v>
                </c:pt>
                <c:pt idx="7">
                  <c:v>0</c:v>
                </c:pt>
                <c:pt idx="8">
                  <c:v>668.4</c:v>
                </c:pt>
                <c:pt idx="9">
                  <c:v>69.9000000000000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915-4945-8293-22C3284BCC34}"/>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915-4945-8293-22C3284BCC34}"/>
                </c:ext>
              </c:extLst>
            </c:dLbl>
            <c:dLbl>
              <c:idx val="2"/>
              <c:tx>
                <c:rich>
                  <a:bodyPr/>
                  <a:lstStyle/>
                  <a:p>
                    <a:r>
                      <a:t>1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915-4945-8293-22C3284BCC34}"/>
                </c:ext>
              </c:extLst>
            </c:dLbl>
            <c:dLbl>
              <c:idx val="3"/>
              <c:tx>
                <c:rich>
                  <a:bodyPr/>
                  <a:lstStyle/>
                  <a:p>
                    <a:r>
                      <a:t>1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915-4945-8293-22C3284BCC34}"/>
                </c:ext>
              </c:extLst>
            </c:dLbl>
            <c:dLbl>
              <c:idx val="4"/>
              <c:tx>
                <c:rich>
                  <a:bodyPr/>
                  <a:lstStyle/>
                  <a:p>
                    <a:r>
                      <a:t>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915-4945-8293-22C3284BCC34}"/>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915-4945-8293-22C3284BCC34}"/>
                </c:ext>
              </c:extLst>
            </c:dLbl>
            <c:dLbl>
              <c:idx val="6"/>
              <c:tx>
                <c:rich>
                  <a:bodyPr/>
                  <a:lstStyle/>
                  <a:p>
                    <a:r>
                      <a:t>1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915-4945-8293-22C3284BCC34}"/>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915-4945-8293-22C3284BCC34}"/>
                </c:ext>
              </c:extLst>
            </c:dLbl>
            <c:dLbl>
              <c:idx val="8"/>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915-4945-8293-22C3284BCC34}"/>
                </c:ext>
              </c:extLst>
            </c:dLbl>
            <c:dLbl>
              <c:idx val="9"/>
              <c:tx>
                <c:rich>
                  <a:bodyPr/>
                  <a:lstStyle/>
                  <a:p>
                    <a:r>
                      <a:t>1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915-4945-8293-22C3284BCC3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Rape</c:v>
                  </c:pt>
                  <c:pt idx="6">
                    <c:v>Chevre</c:v>
                  </c:pt>
                  <c:pt idx="8">
                    <c:v>Frais A Tartiner</c:v>
                  </c:pt>
                </c:lvl>
              </c:multiLvlStrCache>
            </c:multiLvlStrRef>
          </c:cat>
          <c:val>
            <c:numRef>
              <c:f>Sheet1!$D$2:$D$11</c:f>
              <c:numCache>
                <c:formatCode>General</c:formatCode>
                <c:ptCount val="10"/>
                <c:pt idx="0">
                  <c:v>8.8222000000000005</c:v>
                </c:pt>
                <c:pt idx="1">
                  <c:v>0</c:v>
                </c:pt>
                <c:pt idx="2">
                  <c:v>12.3523</c:v>
                </c:pt>
                <c:pt idx="3">
                  <c:v>18.715699999999998</c:v>
                </c:pt>
                <c:pt idx="4">
                  <c:v>11.1023</c:v>
                </c:pt>
                <c:pt idx="5">
                  <c:v>0</c:v>
                </c:pt>
                <c:pt idx="6">
                  <c:v>13.5334</c:v>
                </c:pt>
                <c:pt idx="7">
                  <c:v>0</c:v>
                </c:pt>
                <c:pt idx="8">
                  <c:v>11.0937</c:v>
                </c:pt>
                <c:pt idx="9">
                  <c:v>14.775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F8DE-436C-9261-901C7F7F25F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F8DE-436C-9261-901C7F7F25F7}"/>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Chevre</c:v>
                  </c:pt>
                  <c:pt idx="6">
                    <c:v>Rape</c:v>
                  </c:pt>
                  <c:pt idx="8">
                    <c:v>Frais A Tartiner</c:v>
                  </c:pt>
                </c:lvl>
              </c:multiLvlStrCache>
            </c:multiLvlStrRef>
          </c:cat>
          <c:val>
            <c:numRef>
              <c:f>Sheet1!$C$2:$C$11</c:f>
              <c:numCache>
                <c:formatCode>General</c:formatCode>
                <c:ptCount val="10"/>
                <c:pt idx="0">
                  <c:v>196.4</c:v>
                </c:pt>
                <c:pt idx="1">
                  <c:v>0</c:v>
                </c:pt>
                <c:pt idx="2">
                  <c:v>191.4</c:v>
                </c:pt>
                <c:pt idx="3">
                  <c:v>0</c:v>
                </c:pt>
                <c:pt idx="4">
                  <c:v>133.69999999999999</c:v>
                </c:pt>
                <c:pt idx="5">
                  <c:v>0</c:v>
                </c:pt>
                <c:pt idx="6">
                  <c:v>130.69999999999999</c:v>
                </c:pt>
                <c:pt idx="7">
                  <c:v>0</c:v>
                </c:pt>
                <c:pt idx="8">
                  <c:v>111.9</c:v>
                </c:pt>
                <c:pt idx="9">
                  <c:v>1.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F8DE-436C-9261-901C7F7F25F7}"/>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F8DE-436C-9261-901C7F7F25F7}"/>
                </c:ext>
              </c:extLst>
            </c:dLbl>
            <c:dLbl>
              <c:idx val="2"/>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F8DE-436C-9261-901C7F7F25F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F8DE-436C-9261-901C7F7F25F7}"/>
                </c:ext>
              </c:extLst>
            </c:dLbl>
            <c:dLbl>
              <c:idx val="4"/>
              <c:tx>
                <c:rich>
                  <a:bodyPr/>
                  <a:lstStyle/>
                  <a:p>
                    <a:r>
                      <a:t>14.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F8DE-436C-9261-901C7F7F25F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F8DE-436C-9261-901C7F7F25F7}"/>
                </c:ext>
              </c:extLst>
            </c:dLbl>
            <c:dLbl>
              <c:idx val="6"/>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F8DE-436C-9261-901C7F7F25F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F8DE-436C-9261-901C7F7F25F7}"/>
                </c:ext>
              </c:extLst>
            </c:dLbl>
            <c:dLbl>
              <c:idx val="8"/>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F8DE-436C-9261-901C7F7F25F7}"/>
                </c:ext>
              </c:extLst>
            </c:dLbl>
            <c:dLbl>
              <c:idx val="9"/>
              <c:tx>
                <c:rich>
                  <a:bodyPr/>
                  <a:lstStyle/>
                  <a:p>
                    <a:r>
                      <a:t>17.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F8DE-436C-9261-901C7F7F25F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Chevre</c:v>
                  </c:pt>
                  <c:pt idx="6">
                    <c:v>Rape</c:v>
                  </c:pt>
                  <c:pt idx="8">
                    <c:v>Frais A Tartiner</c:v>
                  </c:pt>
                </c:lvl>
              </c:multiLvlStrCache>
            </c:multiLvlStrRef>
          </c:cat>
          <c:val>
            <c:numRef>
              <c:f>Sheet1!$D$2:$D$11</c:f>
              <c:numCache>
                <c:formatCode>General</c:formatCode>
                <c:ptCount val="10"/>
                <c:pt idx="0">
                  <c:v>9.4054000000000002</c:v>
                </c:pt>
                <c:pt idx="1">
                  <c:v>0</c:v>
                </c:pt>
                <c:pt idx="2">
                  <c:v>13.3095</c:v>
                </c:pt>
                <c:pt idx="3">
                  <c:v>0</c:v>
                </c:pt>
                <c:pt idx="4">
                  <c:v>14.925700000000001</c:v>
                </c:pt>
                <c:pt idx="5">
                  <c:v>0</c:v>
                </c:pt>
                <c:pt idx="6">
                  <c:v>11.7029</c:v>
                </c:pt>
                <c:pt idx="7">
                  <c:v>0</c:v>
                </c:pt>
                <c:pt idx="8">
                  <c:v>12.0724</c:v>
                </c:pt>
                <c:pt idx="9">
                  <c:v>17.3130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E02D-41DE-B6C4-2EC70DFC249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E02D-41DE-B6C4-2EC70DFC249A}"/>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Chevre</c:v>
                  </c:pt>
                  <c:pt idx="6">
                    <c:v>Rape</c:v>
                  </c:pt>
                  <c:pt idx="8">
                    <c:v>Frais A Tartiner</c:v>
                  </c:pt>
                </c:lvl>
              </c:multiLvlStrCache>
            </c:multiLvlStrRef>
          </c:cat>
          <c:val>
            <c:numRef>
              <c:f>Sheet1!$C$2:$C$11</c:f>
              <c:numCache>
                <c:formatCode>General</c:formatCode>
                <c:ptCount val="10"/>
                <c:pt idx="0">
                  <c:v>196.4</c:v>
                </c:pt>
                <c:pt idx="1">
                  <c:v>0</c:v>
                </c:pt>
                <c:pt idx="2">
                  <c:v>191.4</c:v>
                </c:pt>
                <c:pt idx="3">
                  <c:v>0</c:v>
                </c:pt>
                <c:pt idx="4">
                  <c:v>133.69999999999999</c:v>
                </c:pt>
                <c:pt idx="5">
                  <c:v>0</c:v>
                </c:pt>
                <c:pt idx="6">
                  <c:v>130.69999999999999</c:v>
                </c:pt>
                <c:pt idx="7">
                  <c:v>0</c:v>
                </c:pt>
                <c:pt idx="8">
                  <c:v>111.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E02D-41DE-B6C4-2EC70DFC249A}"/>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E02D-41DE-B6C4-2EC70DFC249A}"/>
                </c:ext>
              </c:extLst>
            </c:dLbl>
            <c:dLbl>
              <c:idx val="2"/>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E02D-41DE-B6C4-2EC70DFC249A}"/>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E02D-41DE-B6C4-2EC70DFC249A}"/>
                </c:ext>
              </c:extLst>
            </c:dLbl>
            <c:dLbl>
              <c:idx val="4"/>
              <c:tx>
                <c:rich>
                  <a:bodyPr/>
                  <a:lstStyle/>
                  <a:p>
                    <a:r>
                      <a:t>14.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E02D-41DE-B6C4-2EC70DFC249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E02D-41DE-B6C4-2EC70DFC249A}"/>
                </c:ext>
              </c:extLst>
            </c:dLbl>
            <c:dLbl>
              <c:idx val="6"/>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E02D-41DE-B6C4-2EC70DFC249A}"/>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E02D-41DE-B6C4-2EC70DFC249A}"/>
                </c:ext>
              </c:extLst>
            </c:dLbl>
            <c:dLbl>
              <c:idx val="8"/>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E02D-41DE-B6C4-2EC70DFC249A}"/>
                </c:ext>
              </c:extLst>
            </c:dLbl>
            <c:dLbl>
              <c:idx val="9"/>
              <c:tx>
                <c:rich>
                  <a:bodyPr/>
                  <a:lstStyle/>
                  <a:p>
                    <a:r>
                      <a:t>8.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E02D-41DE-B6C4-2EC70DFC249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Chevre</c:v>
                  </c:pt>
                  <c:pt idx="6">
                    <c:v>Rape</c:v>
                  </c:pt>
                  <c:pt idx="8">
                    <c:v>Frais A Tartiner</c:v>
                  </c:pt>
                </c:lvl>
              </c:multiLvlStrCache>
            </c:multiLvlStrRef>
          </c:cat>
          <c:val>
            <c:numRef>
              <c:f>Sheet1!$D$2:$D$11</c:f>
              <c:numCache>
                <c:formatCode>General</c:formatCode>
                <c:ptCount val="10"/>
                <c:pt idx="0">
                  <c:v>9.4054000000000002</c:v>
                </c:pt>
                <c:pt idx="1">
                  <c:v>0</c:v>
                </c:pt>
                <c:pt idx="2">
                  <c:v>13.3095</c:v>
                </c:pt>
                <c:pt idx="3">
                  <c:v>0</c:v>
                </c:pt>
                <c:pt idx="4">
                  <c:v>14.925700000000001</c:v>
                </c:pt>
                <c:pt idx="5">
                  <c:v>0</c:v>
                </c:pt>
                <c:pt idx="6">
                  <c:v>11.7029</c:v>
                </c:pt>
                <c:pt idx="7">
                  <c:v>0</c:v>
                </c:pt>
                <c:pt idx="8">
                  <c:v>12.0724</c:v>
                </c:pt>
                <c:pt idx="9">
                  <c:v>8.888899999999999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8D1D3B0-4D99-4A8B-A226-8EFC0D8D4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3D22196-7743-4516-80B4-C69CDCBD81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94639493-D8B8-45E5-BFB9-B67A4C641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F54B937-309F-4BE1-9045-128320DA5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232D44B2-0B34-40BF-A92E-A2625B044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3E768B3-F606-4A10-9B86-EE3A3E096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70DFDDC-C0E0-45D5-AEC1-A760C649B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8DB71BAD-CA2A-4936-A672-D5D609EDB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009</c:v>
                </c:pt>
                <c:pt idx="1">
                  <c:v>2.0162</c:v>
                </c:pt>
                <c:pt idx="2">
                  <c:v>1.7841</c:v>
                </c:pt>
                <c:pt idx="3">
                  <c:v>3.4218000000000002</c:v>
                </c:pt>
                <c:pt idx="4">
                  <c:v>2.6625999999999999</c:v>
                </c:pt>
                <c:pt idx="5">
                  <c:v>4.0000999999999998</c:v>
                </c:pt>
              </c:numCache>
            </c:numRef>
          </c:xVal>
          <c:yVal>
            <c:numRef>
              <c:f>Sheet1!$B$2:$B$7</c:f>
              <c:numCache>
                <c:formatCode>General</c:formatCode>
                <c:ptCount val="6"/>
                <c:pt idx="0">
                  <c:v>0.84699999999999998</c:v>
                </c:pt>
                <c:pt idx="1">
                  <c:v>1.137</c:v>
                </c:pt>
                <c:pt idx="2">
                  <c:v>1.093</c:v>
                </c:pt>
                <c:pt idx="3">
                  <c:v>1.5529999999999999</c:v>
                </c:pt>
                <c:pt idx="4">
                  <c:v>1.379</c:v>
                </c:pt>
                <c:pt idx="5">
                  <c:v>1.5629999999999999</c:v>
                </c:pt>
              </c:numCache>
            </c:numRef>
          </c:yVal>
          <c:bubbleSize>
            <c:numRef>
              <c:f>Sheet1!$C$2:$C$7</c:f>
              <c:numCache>
                <c:formatCode>General</c:formatCode>
                <c:ptCount val="6"/>
                <c:pt idx="0">
                  <c:v>8889711</c:v>
                </c:pt>
                <c:pt idx="1">
                  <c:v>4466526</c:v>
                </c:pt>
                <c:pt idx="2">
                  <c:v>1665377</c:v>
                </c:pt>
                <c:pt idx="3">
                  <c:v>826174</c:v>
                </c:pt>
                <c:pt idx="4">
                  <c:v>381075</c:v>
                </c:pt>
                <c:pt idx="5">
                  <c:v>19517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Vache Qui Rit</c:v>
                  </c:pt>
                  <c:pt idx="3">
                    <c:v>La Belle Etoile</c:v>
                  </c:pt>
                  <c:pt idx="4">
                    <c:v>Boursin</c:v>
                  </c:pt>
                  <c:pt idx="5">
                    <c:v>Ragu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22E-4156-9B62-DD1B7E29CA7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A22E-4156-9B62-DD1B7E29CA77}"/>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Chevre</c:v>
                  </c:pt>
                  <c:pt idx="6">
                    <c:v>Rape</c:v>
                  </c:pt>
                  <c:pt idx="8">
                    <c:v>Frais A Tartiner</c:v>
                  </c:pt>
                </c:lvl>
              </c:multiLvlStrCache>
            </c:multiLvlStrRef>
          </c:cat>
          <c:val>
            <c:numRef>
              <c:f>Sheet1!$C$2:$C$11</c:f>
              <c:numCache>
                <c:formatCode>General</c:formatCode>
                <c:ptCount val="10"/>
                <c:pt idx="0">
                  <c:v>196.4</c:v>
                </c:pt>
                <c:pt idx="1">
                  <c:v>0</c:v>
                </c:pt>
                <c:pt idx="2">
                  <c:v>191.4</c:v>
                </c:pt>
                <c:pt idx="3">
                  <c:v>3.2</c:v>
                </c:pt>
                <c:pt idx="4">
                  <c:v>133.69999999999999</c:v>
                </c:pt>
                <c:pt idx="5">
                  <c:v>0</c:v>
                </c:pt>
                <c:pt idx="6">
                  <c:v>130.69999999999999</c:v>
                </c:pt>
                <c:pt idx="7">
                  <c:v>0</c:v>
                </c:pt>
                <c:pt idx="8">
                  <c:v>111.9</c:v>
                </c:pt>
                <c:pt idx="9">
                  <c:v>12.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22E-4156-9B62-DD1B7E29CA77}"/>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22E-4156-9B62-DD1B7E29CA77}"/>
                </c:ext>
              </c:extLst>
            </c:dLbl>
            <c:dLbl>
              <c:idx val="2"/>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22E-4156-9B62-DD1B7E29CA77}"/>
                </c:ext>
              </c:extLst>
            </c:dLbl>
            <c:dLbl>
              <c:idx val="3"/>
              <c:tx>
                <c:rich>
                  <a:bodyPr/>
                  <a:lstStyle/>
                  <a:p>
                    <a:r>
                      <a:t>18.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22E-4156-9B62-DD1B7E29CA77}"/>
                </c:ext>
              </c:extLst>
            </c:dLbl>
            <c:dLbl>
              <c:idx val="4"/>
              <c:tx>
                <c:rich>
                  <a:bodyPr/>
                  <a:lstStyle/>
                  <a:p>
                    <a:r>
                      <a:t>14.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22E-4156-9B62-DD1B7E29CA7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22E-4156-9B62-DD1B7E29CA77}"/>
                </c:ext>
              </c:extLst>
            </c:dLbl>
            <c:dLbl>
              <c:idx val="6"/>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22E-4156-9B62-DD1B7E29CA7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22E-4156-9B62-DD1B7E29CA77}"/>
                </c:ext>
              </c:extLst>
            </c:dLbl>
            <c:dLbl>
              <c:idx val="8"/>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22E-4156-9B62-DD1B7E29CA77}"/>
                </c:ext>
              </c:extLst>
            </c:dLbl>
            <c:dLbl>
              <c:idx val="9"/>
              <c:tx>
                <c:rich>
                  <a:bodyPr/>
                  <a:lstStyle/>
                  <a:p>
                    <a:r>
                      <a:t>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22E-4156-9B62-DD1B7E29CA7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Chevre</c:v>
                  </c:pt>
                  <c:pt idx="6">
                    <c:v>Rape</c:v>
                  </c:pt>
                  <c:pt idx="8">
                    <c:v>Frais A Tartiner</c:v>
                  </c:pt>
                </c:lvl>
              </c:multiLvlStrCache>
            </c:multiLvlStrRef>
          </c:cat>
          <c:val>
            <c:numRef>
              <c:f>Sheet1!$D$2:$D$11</c:f>
              <c:numCache>
                <c:formatCode>General</c:formatCode>
                <c:ptCount val="10"/>
                <c:pt idx="0">
                  <c:v>9.4054000000000002</c:v>
                </c:pt>
                <c:pt idx="1">
                  <c:v>0</c:v>
                </c:pt>
                <c:pt idx="2">
                  <c:v>13.3095</c:v>
                </c:pt>
                <c:pt idx="3">
                  <c:v>18.670000000000002</c:v>
                </c:pt>
                <c:pt idx="4">
                  <c:v>14.925700000000001</c:v>
                </c:pt>
                <c:pt idx="5">
                  <c:v>0</c:v>
                </c:pt>
                <c:pt idx="6">
                  <c:v>11.7029</c:v>
                </c:pt>
                <c:pt idx="7">
                  <c:v>0</c:v>
                </c:pt>
                <c:pt idx="8">
                  <c:v>12.0724</c:v>
                </c:pt>
                <c:pt idx="9">
                  <c:v>15.2977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84B2-4972-9184-2EB6FC56942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84B2-4972-9184-2EB6FC569425}"/>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Rape</c:v>
                  </c:pt>
                  <c:pt idx="2">
                    <c:v>Classique</c:v>
                  </c:pt>
                  <c:pt idx="4">
                    <c:v>Bloc</c:v>
                  </c:pt>
                  <c:pt idx="6">
                    <c:v>Salade</c:v>
                  </c:pt>
                  <c:pt idx="8">
                    <c:v>Specialite</c:v>
                  </c:pt>
                </c:lvl>
              </c:multiLvlStrCache>
            </c:multiLvlStrRef>
          </c:cat>
          <c:val>
            <c:numRef>
              <c:f>Sheet1!$C$2:$C$11</c:f>
              <c:numCache>
                <c:formatCode>General</c:formatCode>
                <c:ptCount val="10"/>
                <c:pt idx="0">
                  <c:v>259.8</c:v>
                </c:pt>
                <c:pt idx="1">
                  <c:v>0</c:v>
                </c:pt>
                <c:pt idx="2">
                  <c:v>160.30000000000001</c:v>
                </c:pt>
                <c:pt idx="3">
                  <c:v>0</c:v>
                </c:pt>
                <c:pt idx="4">
                  <c:v>149.6</c:v>
                </c:pt>
                <c:pt idx="5">
                  <c:v>0</c:v>
                </c:pt>
                <c:pt idx="6">
                  <c:v>121.7</c:v>
                </c:pt>
                <c:pt idx="7">
                  <c:v>0</c:v>
                </c:pt>
                <c:pt idx="8">
                  <c:v>118.6</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4B2-4972-9184-2EB6FC569425}"/>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4B2-4972-9184-2EB6FC569425}"/>
                </c:ext>
              </c:extLst>
            </c:dLbl>
            <c:dLbl>
              <c:idx val="2"/>
              <c:tx>
                <c:rich>
                  <a:bodyPr/>
                  <a:lstStyle/>
                  <a:p>
                    <a:r>
                      <a:t>9.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4B2-4972-9184-2EB6FC569425}"/>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4B2-4972-9184-2EB6FC569425}"/>
                </c:ext>
              </c:extLst>
            </c:dLbl>
            <c:dLbl>
              <c:idx val="4"/>
              <c:tx>
                <c:rich>
                  <a:bodyPr/>
                  <a:lstStyle/>
                  <a:p>
                    <a:r>
                      <a:t>12.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4B2-4972-9184-2EB6FC569425}"/>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4B2-4972-9184-2EB6FC569425}"/>
                </c:ext>
              </c:extLst>
            </c:dLbl>
            <c:dLbl>
              <c:idx val="6"/>
              <c:tx>
                <c:rich>
                  <a:bodyPr/>
                  <a:lstStyle/>
                  <a:p>
                    <a:r>
                      <a:t>1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84B2-4972-9184-2EB6FC569425}"/>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4B2-4972-9184-2EB6FC569425}"/>
                </c:ext>
              </c:extLst>
            </c:dLbl>
            <c:dLbl>
              <c:idx val="8"/>
              <c:tx>
                <c:rich>
                  <a:bodyPr/>
                  <a:lstStyle/>
                  <a:p>
                    <a:r>
                      <a:t>11.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84B2-4972-9184-2EB6FC569425}"/>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4B2-4972-9184-2EB6FC56942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Rape</c:v>
                  </c:pt>
                  <c:pt idx="2">
                    <c:v>Classique</c:v>
                  </c:pt>
                  <c:pt idx="4">
                    <c:v>Bloc</c:v>
                  </c:pt>
                  <c:pt idx="6">
                    <c:v>Salade</c:v>
                  </c:pt>
                  <c:pt idx="8">
                    <c:v>Specialite</c:v>
                  </c:pt>
                </c:lvl>
              </c:multiLvlStrCache>
            </c:multiLvlStrRef>
          </c:cat>
          <c:val>
            <c:numRef>
              <c:f>Sheet1!$D$2:$D$11</c:f>
              <c:numCache>
                <c:formatCode>General</c:formatCode>
                <c:ptCount val="10"/>
                <c:pt idx="0">
                  <c:v>10.473599999999999</c:v>
                </c:pt>
                <c:pt idx="1">
                  <c:v>0</c:v>
                </c:pt>
                <c:pt idx="2">
                  <c:v>9.0801999999999996</c:v>
                </c:pt>
                <c:pt idx="3">
                  <c:v>0</c:v>
                </c:pt>
                <c:pt idx="4">
                  <c:v>12.640499999999999</c:v>
                </c:pt>
                <c:pt idx="5">
                  <c:v>0</c:v>
                </c:pt>
                <c:pt idx="6">
                  <c:v>11.8794</c:v>
                </c:pt>
                <c:pt idx="7">
                  <c:v>0</c:v>
                </c:pt>
                <c:pt idx="8">
                  <c:v>11.673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D1A5-4784-9C43-57D9A7B2653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D1A5-4784-9C43-57D9A7B2653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Rape</c:v>
                  </c:pt>
                  <c:pt idx="2">
                    <c:v>Classique</c:v>
                  </c:pt>
                  <c:pt idx="4">
                    <c:v>Bloc</c:v>
                  </c:pt>
                  <c:pt idx="6">
                    <c:v>Salade</c:v>
                  </c:pt>
                  <c:pt idx="8">
                    <c:v>Specialite</c:v>
                  </c:pt>
                </c:lvl>
              </c:multiLvlStrCache>
            </c:multiLvlStrRef>
          </c:cat>
          <c:val>
            <c:numRef>
              <c:f>Sheet1!$C$2:$C$11</c:f>
              <c:numCache>
                <c:formatCode>General</c:formatCode>
                <c:ptCount val="10"/>
                <c:pt idx="0">
                  <c:v>259.8</c:v>
                </c:pt>
                <c:pt idx="1">
                  <c:v>0</c:v>
                </c:pt>
                <c:pt idx="2">
                  <c:v>160.30000000000001</c:v>
                </c:pt>
                <c:pt idx="3">
                  <c:v>0</c:v>
                </c:pt>
                <c:pt idx="4">
                  <c:v>149.6</c:v>
                </c:pt>
                <c:pt idx="5">
                  <c:v>0</c:v>
                </c:pt>
                <c:pt idx="6">
                  <c:v>121.7</c:v>
                </c:pt>
                <c:pt idx="7">
                  <c:v>0</c:v>
                </c:pt>
                <c:pt idx="8">
                  <c:v>118.6</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1A5-4784-9C43-57D9A7B2653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1A5-4784-9C43-57D9A7B26539}"/>
                </c:ext>
              </c:extLst>
            </c:dLbl>
            <c:dLbl>
              <c:idx val="2"/>
              <c:tx>
                <c:rich>
                  <a:bodyPr/>
                  <a:lstStyle/>
                  <a:p>
                    <a:r>
                      <a:t>9.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1A5-4784-9C43-57D9A7B2653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1A5-4784-9C43-57D9A7B26539}"/>
                </c:ext>
              </c:extLst>
            </c:dLbl>
            <c:dLbl>
              <c:idx val="4"/>
              <c:tx>
                <c:rich>
                  <a:bodyPr/>
                  <a:lstStyle/>
                  <a:p>
                    <a:r>
                      <a:t>12.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D1A5-4784-9C43-57D9A7B2653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D1A5-4784-9C43-57D9A7B26539}"/>
                </c:ext>
              </c:extLst>
            </c:dLbl>
            <c:dLbl>
              <c:idx val="6"/>
              <c:tx>
                <c:rich>
                  <a:bodyPr/>
                  <a:lstStyle/>
                  <a:p>
                    <a:r>
                      <a:t>1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D1A5-4784-9C43-57D9A7B2653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D1A5-4784-9C43-57D9A7B26539}"/>
                </c:ext>
              </c:extLst>
            </c:dLbl>
            <c:dLbl>
              <c:idx val="8"/>
              <c:tx>
                <c:rich>
                  <a:bodyPr/>
                  <a:lstStyle/>
                  <a:p>
                    <a:r>
                      <a:t>11.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1A5-4784-9C43-57D9A7B26539}"/>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1A5-4784-9C43-57D9A7B2653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Rape</c:v>
                  </c:pt>
                  <c:pt idx="2">
                    <c:v>Classique</c:v>
                  </c:pt>
                  <c:pt idx="4">
                    <c:v>Bloc</c:v>
                  </c:pt>
                  <c:pt idx="6">
                    <c:v>Salade</c:v>
                  </c:pt>
                  <c:pt idx="8">
                    <c:v>Specialite</c:v>
                  </c:pt>
                </c:lvl>
              </c:multiLvlStrCache>
            </c:multiLvlStrRef>
          </c:cat>
          <c:val>
            <c:numRef>
              <c:f>Sheet1!$D$2:$D$11</c:f>
              <c:numCache>
                <c:formatCode>General</c:formatCode>
                <c:ptCount val="10"/>
                <c:pt idx="0">
                  <c:v>10.473599999999999</c:v>
                </c:pt>
                <c:pt idx="1">
                  <c:v>0</c:v>
                </c:pt>
                <c:pt idx="2">
                  <c:v>9.0801999999999996</c:v>
                </c:pt>
                <c:pt idx="3">
                  <c:v>0</c:v>
                </c:pt>
                <c:pt idx="4">
                  <c:v>12.640499999999999</c:v>
                </c:pt>
                <c:pt idx="5">
                  <c:v>0</c:v>
                </c:pt>
                <c:pt idx="6">
                  <c:v>11.8794</c:v>
                </c:pt>
                <c:pt idx="7">
                  <c:v>0</c:v>
                </c:pt>
                <c:pt idx="8">
                  <c:v>11.673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D461-42B0-A382-59ADFDCBF3D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D461-42B0-A382-59ADFDCBF3D2}"/>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Rape</c:v>
                  </c:pt>
                  <c:pt idx="2">
                    <c:v>Classique</c:v>
                  </c:pt>
                  <c:pt idx="4">
                    <c:v>Bloc</c:v>
                  </c:pt>
                  <c:pt idx="6">
                    <c:v>Salade</c:v>
                  </c:pt>
                  <c:pt idx="8">
                    <c:v>Specialite</c:v>
                  </c:pt>
                </c:lvl>
              </c:multiLvlStrCache>
            </c:multiLvlStrRef>
          </c:cat>
          <c:val>
            <c:numRef>
              <c:f>Sheet1!$C$2:$C$11</c:f>
              <c:numCache>
                <c:formatCode>General</c:formatCode>
                <c:ptCount val="10"/>
                <c:pt idx="0">
                  <c:v>259.8</c:v>
                </c:pt>
                <c:pt idx="1">
                  <c:v>0</c:v>
                </c:pt>
                <c:pt idx="2">
                  <c:v>160.30000000000001</c:v>
                </c:pt>
                <c:pt idx="3">
                  <c:v>0</c:v>
                </c:pt>
                <c:pt idx="4">
                  <c:v>149.6</c:v>
                </c:pt>
                <c:pt idx="5">
                  <c:v>0</c:v>
                </c:pt>
                <c:pt idx="6">
                  <c:v>121.7</c:v>
                </c:pt>
                <c:pt idx="7">
                  <c:v>1.8</c:v>
                </c:pt>
                <c:pt idx="8">
                  <c:v>118.6</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4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461-42B0-A382-59ADFDCBF3D2}"/>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461-42B0-A382-59ADFDCBF3D2}"/>
                </c:ext>
              </c:extLst>
            </c:dLbl>
            <c:dLbl>
              <c:idx val="2"/>
              <c:tx>
                <c:rich>
                  <a:bodyPr/>
                  <a:lstStyle/>
                  <a:p>
                    <a:r>
                      <a:t>9.0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461-42B0-A382-59ADFDCBF3D2}"/>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461-42B0-A382-59ADFDCBF3D2}"/>
                </c:ext>
              </c:extLst>
            </c:dLbl>
            <c:dLbl>
              <c:idx val="4"/>
              <c:tx>
                <c:rich>
                  <a:bodyPr/>
                  <a:lstStyle/>
                  <a:p>
                    <a:r>
                      <a:t>12.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D461-42B0-A382-59ADFDCBF3D2}"/>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D461-42B0-A382-59ADFDCBF3D2}"/>
                </c:ext>
              </c:extLst>
            </c:dLbl>
            <c:dLbl>
              <c:idx val="6"/>
              <c:tx>
                <c:rich>
                  <a:bodyPr/>
                  <a:lstStyle/>
                  <a:p>
                    <a:r>
                      <a:t>11.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D461-42B0-A382-59ADFDCBF3D2}"/>
                </c:ext>
              </c:extLst>
            </c:dLbl>
            <c:dLbl>
              <c:idx val="7"/>
              <c:tx>
                <c:rich>
                  <a:bodyPr/>
                  <a:lstStyle/>
                  <a:p>
                    <a:r>
                      <a:t>1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D461-42B0-A382-59ADFDCBF3D2}"/>
                </c:ext>
              </c:extLst>
            </c:dLbl>
            <c:dLbl>
              <c:idx val="8"/>
              <c:tx>
                <c:rich>
                  <a:bodyPr/>
                  <a:lstStyle/>
                  <a:p>
                    <a:r>
                      <a:t>11.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461-42B0-A382-59ADFDCBF3D2}"/>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461-42B0-A382-59ADFDCBF3D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Rape</c:v>
                  </c:pt>
                  <c:pt idx="2">
                    <c:v>Classique</c:v>
                  </c:pt>
                  <c:pt idx="4">
                    <c:v>Bloc</c:v>
                  </c:pt>
                  <c:pt idx="6">
                    <c:v>Salade</c:v>
                  </c:pt>
                  <c:pt idx="8">
                    <c:v>Specialite</c:v>
                  </c:pt>
                </c:lvl>
              </c:multiLvlStrCache>
            </c:multiLvlStrRef>
          </c:cat>
          <c:val>
            <c:numRef>
              <c:f>Sheet1!$D$2:$D$11</c:f>
              <c:numCache>
                <c:formatCode>General</c:formatCode>
                <c:ptCount val="10"/>
                <c:pt idx="0">
                  <c:v>10.473599999999999</c:v>
                </c:pt>
                <c:pt idx="1">
                  <c:v>0</c:v>
                </c:pt>
                <c:pt idx="2">
                  <c:v>9.0801999999999996</c:v>
                </c:pt>
                <c:pt idx="3">
                  <c:v>0</c:v>
                </c:pt>
                <c:pt idx="4">
                  <c:v>12.640499999999999</c:v>
                </c:pt>
                <c:pt idx="5">
                  <c:v>0</c:v>
                </c:pt>
                <c:pt idx="6">
                  <c:v>11.8794</c:v>
                </c:pt>
                <c:pt idx="7">
                  <c:v>19.544699999999999</c:v>
                </c:pt>
                <c:pt idx="8">
                  <c:v>11.673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22.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3.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5.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6.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7.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8.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30.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3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32.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3.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5.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6.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7.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8.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40.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41.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42.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3.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5.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6.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7.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8.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50.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51.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52.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53.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5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55.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56.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57.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58.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5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60.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61.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62.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63.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93.xml"/><Relationship Id="rId5" Type="http://schemas.openxmlformats.org/officeDocument/2006/relationships/image" Target="../media/image29.emf"/><Relationship Id="rId4"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AT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44119491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21928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966423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308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3824"/>
            <a:ext cx="4869366" cy="72813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98270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407342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779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1151"/>
            <a:ext cx="4869366" cy="74212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2302"/>
            <a:ext cx="4869366" cy="15032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18787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3160009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956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18089"/>
            <a:ext cx="4869366" cy="7070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05540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756059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17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35767"/>
            <a:ext cx="4869366" cy="7668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5834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47534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976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4274"/>
            <a:ext cx="4869366" cy="7869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1434"/>
            <a:ext cx="4869366" cy="159414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153635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99270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629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0252"/>
            <a:ext cx="4869366" cy="7653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509155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080458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5943"/>
            <a:ext cx="4869366" cy="935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7775"/>
            <a:ext cx="4869366" cy="6186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0021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419106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4466"/>
            <a:ext cx="4869366" cy="9628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3609"/>
            <a:ext cx="4869366" cy="6364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30727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835261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1798"/>
            <a:ext cx="4869366" cy="93403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1667"/>
            <a:ext cx="4869366" cy="6174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920449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875338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3596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58089"/>
            <a:ext cx="4869366" cy="6939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09472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rrefour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49227792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686123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468319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8077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02529"/>
            <a:ext cx="4869366" cy="67940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26221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721135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04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2344"/>
            <a:ext cx="4869366" cy="6860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137173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177755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235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0962"/>
            <a:ext cx="4869366" cy="8420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7257"/>
            <a:ext cx="4869366" cy="5565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8120"/>
            <a:ext cx="4869366" cy="11274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368422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76056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675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85753"/>
            <a:ext cx="4869366" cy="8206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0330"/>
            <a:ext cx="4869366" cy="5424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6715"/>
            <a:ext cx="4869366" cy="109886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04055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962999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188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1047"/>
            <a:ext cx="4869366" cy="8749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0833"/>
            <a:ext cx="4869366" cy="5783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4024"/>
            <a:ext cx="4869366" cy="117155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799937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349992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22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4508"/>
            <a:ext cx="4869366" cy="6984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60833"/>
            <a:ext cx="4869366" cy="14147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101709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08958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157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38867"/>
            <a:ext cx="4869366" cy="7330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0702"/>
            <a:ext cx="4869366" cy="14848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686002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499158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47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6990"/>
            <a:ext cx="4869366" cy="6976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62481"/>
            <a:ext cx="4869366" cy="14130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936069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23082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22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4508"/>
            <a:ext cx="4869366" cy="6984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34428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951447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212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5612"/>
            <a:ext cx="4869366" cy="7472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86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Intermarche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80875077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465432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0048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95885"/>
            <a:ext cx="4869366" cy="9821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4664"/>
            <a:ext cx="4869366" cy="6492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75662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10818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536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9990"/>
            <a:ext cx="4869366" cy="79166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780654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878993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58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0678"/>
            <a:ext cx="4869366" cy="7979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04340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180775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97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72573"/>
            <a:ext cx="4869366" cy="7219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490346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343668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2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7753"/>
            <a:ext cx="4869366" cy="805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068796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6675263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06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49138"/>
            <a:ext cx="4869366" cy="832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5988"/>
            <a:ext cx="4869366" cy="5504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0841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669636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4764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65436"/>
            <a:ext cx="4869366" cy="7944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73304"/>
            <a:ext cx="4869366" cy="5251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20314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009954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52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7129"/>
            <a:ext cx="4869366" cy="6844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671177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47803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0064"/>
            <a:ext cx="4869366" cy="93790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3867"/>
            <a:ext cx="4869366" cy="61997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127947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99763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65327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ATIONAL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82062641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14972926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85505532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tc>
                  <a:txBody>
                    <a:bodyPr/>
                    <a:lstStyle/>
                    <a:p>
                      <a:pPr algn="ctr">
                        <a:defRPr sz="1100">
                          <a:latin typeface="Nexa Book"/>
                        </a:defRPr>
                      </a:pPr>
                      <a:r>
                        <a:rPr b="1">
                          <a:solidFill>
                            <a:srgbClr val="575555"/>
                          </a:solidFill>
                        </a:rPr>
                        <a:t>Ingredient A Chaud</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2577721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Ingredient A Chaud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281473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8590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201819"/>
            <a:ext cx="4869366" cy="6835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96933"/>
            <a:ext cx="4869366" cy="4518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89293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Ingredient A Chaud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32035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648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90864"/>
            <a:ext cx="4869366" cy="8470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010315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Ingredient A Chaud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96130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962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9538"/>
            <a:ext cx="4869366" cy="73937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397791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52370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235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0962"/>
            <a:ext cx="4869366" cy="8420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7257"/>
            <a:ext cx="4869366" cy="5565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8120"/>
            <a:ext cx="4869366" cy="11274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51247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6273938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675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85753"/>
            <a:ext cx="4869366" cy="8206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0330"/>
            <a:ext cx="4869366" cy="5424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6715"/>
            <a:ext cx="4869366" cy="109886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18938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82876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188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1047"/>
            <a:ext cx="4869366" cy="8749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0833"/>
            <a:ext cx="4869366" cy="5783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4024"/>
            <a:ext cx="4869366" cy="117155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37561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37406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42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8489"/>
            <a:ext cx="4869366" cy="7757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4148"/>
            <a:ext cx="4869366" cy="15714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890046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78822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8775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2785"/>
            <a:ext cx="4869366" cy="8071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40614"/>
            <a:ext cx="4869366" cy="163496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152482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044041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2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7753"/>
            <a:ext cx="4869366" cy="805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43912"/>
            <a:ext cx="4869366" cy="16316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32378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409552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22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4508"/>
            <a:ext cx="4869366" cy="6984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20387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rrefour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03703907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97233525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18150824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tc>
                  <a:txBody>
                    <a:bodyPr/>
                    <a:lstStyle/>
                    <a:p>
                      <a:pPr algn="ctr">
                        <a:defRPr sz="1100">
                          <a:latin typeface="Nexa Book"/>
                        </a:defRPr>
                      </a:pPr>
                      <a:r>
                        <a:rPr b="1">
                          <a:solidFill>
                            <a:srgbClr val="575555"/>
                          </a:solidFill>
                        </a:rPr>
                        <a:t>Ingredient A Chaud</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6573685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320420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212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5612"/>
            <a:ext cx="4869366" cy="7472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496711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872291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95885"/>
            <a:ext cx="4869366" cy="9821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94664"/>
            <a:ext cx="4869366" cy="64920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076809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5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454041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6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55706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5932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5808804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318561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193321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5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ille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095837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6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486300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Intermarche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00404522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60693493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74903868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tc>
                  <a:txBody>
                    <a:bodyPr/>
                    <a:lstStyle/>
                    <a:p>
                      <a:pPr algn="ctr">
                        <a:defRPr sz="1100">
                          <a:latin typeface="Nexa Book"/>
                        </a:defRPr>
                      </a:pPr>
                      <a:r>
                        <a:rPr b="1">
                          <a:solidFill>
                            <a:srgbClr val="575555"/>
                          </a:solidFill>
                        </a:rPr>
                        <a:t>Ingredient A Chaud</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414210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ntremo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ille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373396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6318252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9466460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248042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791072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676422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3373409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651352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1783891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651224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61779799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794296387"/>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8499544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6070417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2881338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399765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772563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6612360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735065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75635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4400401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517122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92643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20513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rrefour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61839356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9817083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28140104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817441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894843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3978074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82185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5173254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15539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0106765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8588536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852499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9874656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76741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Intermarche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52177122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73130265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25372491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78727471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9233213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6369455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315510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264369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TotalTime>
  <Words>9492</Words>
  <Application>Microsoft Office PowerPoint</Application>
  <PresentationFormat>On-screen Show (16:9)</PresentationFormat>
  <Paragraphs>2754</Paragraphs>
  <Slides>93</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3</vt:i4>
      </vt:variant>
    </vt:vector>
  </HeadingPairs>
  <TitlesOfParts>
    <vt:vector size="103"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6</cp:revision>
  <dcterms:created xsi:type="dcterms:W3CDTF">2024-07-05T14:56:51Z</dcterms:created>
  <dcterms:modified xsi:type="dcterms:W3CDTF">2025-09-09T09:1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